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1" r:id="rId1"/>
  </p:sldMasterIdLst>
  <p:notesMasterIdLst>
    <p:notesMasterId r:id="rId11"/>
  </p:notesMasterIdLst>
  <p:handoutMasterIdLst>
    <p:handoutMasterId r:id="rId12"/>
  </p:handoutMasterIdLst>
  <p:sldIdLst>
    <p:sldId id="451" r:id="rId2"/>
    <p:sldId id="558" r:id="rId3"/>
    <p:sldId id="559" r:id="rId4"/>
    <p:sldId id="521" r:id="rId5"/>
    <p:sldId id="538" r:id="rId6"/>
    <p:sldId id="536" r:id="rId7"/>
    <p:sldId id="560" r:id="rId8"/>
    <p:sldId id="532" r:id="rId9"/>
    <p:sldId id="557" r:id="rId10"/>
  </p:sldIdLst>
  <p:sldSz cx="12192000" cy="6858000"/>
  <p:notesSz cx="6858000" cy="9144000"/>
  <p:custDataLst>
    <p:tags r:id="rId1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p15:clr>
            <a:srgbClr val="A4A3A4"/>
          </p15:clr>
        </p15:guide>
        <p15:guide id="3" orient="horz" pos="1071"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FF17"/>
    <a:srgbClr val="2B0A3D"/>
    <a:srgbClr val="0070AD"/>
    <a:srgbClr val="E6E7E7"/>
    <a:srgbClr val="12ABDB"/>
    <a:srgbClr val="300B48"/>
    <a:srgbClr val="D9D9D9"/>
    <a:srgbClr val="95E616"/>
    <a:srgbClr val="FF304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215" autoAdjust="0"/>
  </p:normalViewPr>
  <p:slideViewPr>
    <p:cSldViewPr>
      <p:cViewPr varScale="1">
        <p:scale>
          <a:sx n="87" d="100"/>
          <a:sy n="87" d="100"/>
        </p:scale>
        <p:origin x="480" y="58"/>
      </p:cViewPr>
      <p:guideLst>
        <p:guide orient="horz" pos="2160"/>
        <p:guide pos="3840"/>
        <p:guide orient="horz" pos="1071"/>
      </p:guideLst>
    </p:cSldViewPr>
  </p:slideViewPr>
  <p:outlineViewPr>
    <p:cViewPr>
      <p:scale>
        <a:sx n="33" d="100"/>
        <a:sy n="33" d="100"/>
      </p:scale>
      <p:origin x="0" y="-58590"/>
    </p:cViewPr>
  </p:outlineViewPr>
  <p:notesTextViewPr>
    <p:cViewPr>
      <p:scale>
        <a:sx n="3" d="2"/>
        <a:sy n="3" d="2"/>
      </p:scale>
      <p:origin x="0" y="0"/>
    </p:cViewPr>
  </p:notesTextViewPr>
  <p:sorterViewPr>
    <p:cViewPr varScale="1">
      <p:scale>
        <a:sx n="100" d="100"/>
        <a:sy n="100" d="100"/>
      </p:scale>
      <p:origin x="0" y="-1356"/>
    </p:cViewPr>
  </p:sorterViewPr>
  <p:notesViewPr>
    <p:cSldViewPr>
      <p:cViewPr>
        <p:scale>
          <a:sx n="100" d="100"/>
          <a:sy n="100" d="100"/>
        </p:scale>
        <p:origin x="2598" y="-29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07/11/2018</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07/11/2018</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Editar os estilos de texto do Modelo Global</a:t>
            </a:r>
          </a:p>
          <a:p>
            <a:pPr lvl="1"/>
            <a:r>
              <a:rPr lang="pt-PT" dirty="0"/>
              <a:t>Segundo nível</a:t>
            </a:r>
          </a:p>
          <a:p>
            <a:pPr lvl="2"/>
            <a:r>
              <a:rPr lang="pt-PT" dirty="0"/>
              <a:t>Terceiro nível</a:t>
            </a:r>
          </a:p>
          <a:p>
            <a:pPr lvl="3"/>
            <a:r>
              <a:rPr lang="pt-PT" dirty="0"/>
              <a:t>Quarto nível</a:t>
            </a:r>
          </a:p>
          <a:p>
            <a:pPr lvl="4"/>
            <a:r>
              <a:rPr lang="pt-PT" dirty="0"/>
              <a:t>Quinto nível</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200" kern="1200">
        <a:solidFill>
          <a:schemeClr val="tx1"/>
        </a:solidFill>
        <a:latin typeface="+mn-lt"/>
        <a:ea typeface="+mn-ea"/>
        <a:cs typeface="+mn-cs"/>
      </a:defRPr>
    </a:lvl1pPr>
    <a:lvl2pPr marL="180975" indent="-180975" algn="l" defTabSz="914400" rtl="0" eaLnBrk="1" latinLnBrk="0" hangingPunct="1">
      <a:spcBef>
        <a:spcPts val="600"/>
      </a:spcBef>
      <a:buClr>
        <a:schemeClr val="tx2"/>
      </a:buClr>
      <a:buFont typeface="Wingdings" panose="05000000000000000000" pitchFamily="2" charset="2"/>
      <a:buChar char="§"/>
      <a:defRPr sz="1200" kern="1200">
        <a:solidFill>
          <a:schemeClr val="tx1"/>
        </a:solidFill>
        <a:latin typeface="+mn-lt"/>
        <a:ea typeface="+mn-ea"/>
        <a:cs typeface="+mn-cs"/>
      </a:defRPr>
    </a:lvl2pPr>
    <a:lvl3pPr marL="358775" indent="-177800" algn="l" defTabSz="914400" rtl="0" eaLnBrk="1" latinLnBrk="0" hangingPunct="1">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539750" indent="-180975"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4pPr>
    <a:lvl5pPr marL="717550" indent="-177800"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18" Type="http://schemas.openxmlformats.org/officeDocument/2006/relationships/image" Target="../media/image2.png"/><Relationship Id="rId3" Type="http://schemas.openxmlformats.org/officeDocument/2006/relationships/slideMaster" Target="../slideMasters/slideMaster1.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9.png"/><Relationship Id="rId2" Type="http://schemas.openxmlformats.org/officeDocument/2006/relationships/tags" Target="../tags/tag8.xml"/><Relationship Id="rId16" Type="http://schemas.openxmlformats.org/officeDocument/2006/relationships/image" Target="../media/image8.png"/><Relationship Id="rId1" Type="http://schemas.openxmlformats.org/officeDocument/2006/relationships/vmlDrawing" Target="../drawings/vmlDrawing7.vml"/><Relationship Id="rId6" Type="http://schemas.openxmlformats.org/officeDocument/2006/relationships/hyperlink" Target="http://www.capgemini.com/"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5.png"/><Relationship Id="rId19" Type="http://schemas.openxmlformats.org/officeDocument/2006/relationships/image" Target="../media/image3.svg"/><Relationship Id="rId4" Type="http://schemas.openxmlformats.org/officeDocument/2006/relationships/oleObject" Target="../embeddings/oleObject7.bin"/><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Master" Target="../slideMasters/slideMaster1.xml"/><Relationship Id="rId7" Type="http://schemas.openxmlformats.org/officeDocument/2006/relationships/image" Target="../media/image17.sv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15.bin"/><Relationship Id="rId9" Type="http://schemas.openxmlformats.org/officeDocument/2006/relationships/image" Target="../media/image3.svg"/></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8.emf"/><Relationship Id="rId4" Type="http://schemas.openxmlformats.org/officeDocument/2006/relationships/oleObject" Target="../embeddings/oleObject16.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8.emf"/><Relationship Id="rId4" Type="http://schemas.openxmlformats.org/officeDocument/2006/relationships/oleObject" Target="../embeddings/oleObject17.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9.emf"/><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Cover1">
    <p:bg>
      <p:bgPr>
        <a:solidFill>
          <a:schemeClr val="bg2"/>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6101472"/>
            <a:ext cx="2286000" cy="510013"/>
          </a:xfrm>
          <a:prstGeom prst="rect">
            <a:avLst/>
          </a:prstGeom>
        </p:spPr>
      </p:pic>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2269772541"/>
      </p:ext>
    </p:extLst>
  </p:cSld>
  <p:clrMapOvr>
    <a:masterClrMapping/>
  </p:clrMapOvr>
  <p:extLst mod="1">
    <p:ext uri="{DCECCB84-F9BA-43D5-87BE-67443E8EF086}">
      <p15:sldGuideLst xmlns:p15="http://schemas.microsoft.com/office/powerpoint/2012/main">
        <p15:guide id="3" pos="721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dirty="0"/>
          </a:p>
        </p:txBody>
      </p:sp>
      <p:sp>
        <p:nvSpPr>
          <p:cNvPr id="7" name="Text Placeholder 6"/>
          <p:cNvSpPr>
            <a:spLocks noGrp="1"/>
          </p:cNvSpPr>
          <p:nvPr>
            <p:ph type="body" sz="quarter" idx="13"/>
          </p:nvPr>
        </p:nvSpPr>
        <p:spPr>
          <a:xfrm>
            <a:off x="407988" y="1412875"/>
            <a:ext cx="11376025" cy="50403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Date Placeholder 5"/>
          <p:cNvSpPr>
            <a:spLocks noGrp="1"/>
          </p:cNvSpPr>
          <p:nvPr>
            <p:ph type="dt" sz="half" idx="14"/>
          </p:nvPr>
        </p:nvSpPr>
        <p:spPr/>
        <p:txBody>
          <a:bodyPr/>
          <a:lstStyle/>
          <a:p>
            <a:pPr>
              <a:lnSpc>
                <a:spcPct val="85000"/>
              </a:lnSpc>
            </a:pPr>
            <a:r>
              <a:rPr lang="en-US"/>
              <a:t>Presentation Title | Author | Date</a:t>
            </a:r>
            <a:endParaRPr lang="en-US" dirty="0"/>
          </a:p>
        </p:txBody>
      </p:sp>
      <p:sp>
        <p:nvSpPr>
          <p:cNvPr id="8" name="Footer Placeholder 7"/>
          <p:cNvSpPr>
            <a:spLocks noGrp="1"/>
          </p:cNvSpPr>
          <p:nvPr>
            <p:ph type="ftr" sz="quarter" idx="15"/>
          </p:nvPr>
        </p:nvSpPr>
        <p:spPr/>
        <p:txBody>
          <a:bodyPr/>
          <a:lstStyle/>
          <a:p>
            <a:r>
              <a:rPr lang="en-US"/>
              <a:t>© 2017 Capgemini. All rights reserved.</a:t>
            </a:r>
            <a:endParaRPr lang="en-US" dirty="0"/>
          </a:p>
        </p:txBody>
      </p:sp>
      <p:sp>
        <p:nvSpPr>
          <p:cNvPr id="9" name="Slide Number Placeholder 8"/>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8285243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a:t>
            </a:r>
            <a:br>
              <a:rPr lang="en-US" dirty="0"/>
            </a:br>
            <a:r>
              <a:rPr lang="en-US" dirty="0"/>
              <a:t>title style</a:t>
            </a:r>
            <a:endParaRPr lang="de-DE" dirty="0"/>
          </a:p>
        </p:txBody>
      </p:sp>
      <p:sp>
        <p:nvSpPr>
          <p:cNvPr id="7" name="Text Placeholder 6"/>
          <p:cNvSpPr>
            <a:spLocks noGrp="1"/>
          </p:cNvSpPr>
          <p:nvPr>
            <p:ph type="body" sz="quarter" idx="13"/>
          </p:nvPr>
        </p:nvSpPr>
        <p:spPr>
          <a:xfrm>
            <a:off x="407988" y="1772770"/>
            <a:ext cx="11376025" cy="46804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Text Placeholder 7"/>
          <p:cNvSpPr>
            <a:spLocks noGrp="1"/>
          </p:cNvSpPr>
          <p:nvPr>
            <p:ph type="body" sz="quarter" idx="14"/>
          </p:nvPr>
        </p:nvSpPr>
        <p:spPr>
          <a:xfrm>
            <a:off x="407988" y="1412875"/>
            <a:ext cx="11376025" cy="215444"/>
          </a:xfrm>
        </p:spPr>
        <p:txBody>
          <a:bodyPr>
            <a:spAutoFit/>
          </a:bodyPr>
          <a:lstStyle>
            <a:lvl1pPr>
              <a:defRPr>
                <a:solidFill>
                  <a:schemeClr val="accent2"/>
                </a:solidFill>
              </a:defRPr>
            </a:lvl1pPr>
          </a:lstStyle>
          <a:p>
            <a:pPr lvl="0"/>
            <a:r>
              <a:rPr lang="en-US"/>
              <a:t>Edit Master text styles</a:t>
            </a:r>
          </a:p>
        </p:txBody>
      </p:sp>
      <p:sp>
        <p:nvSpPr>
          <p:cNvPr id="6" name="Date Placeholder 5"/>
          <p:cNvSpPr>
            <a:spLocks noGrp="1"/>
          </p:cNvSpPr>
          <p:nvPr>
            <p:ph type="dt" sz="half" idx="15"/>
          </p:nvPr>
        </p:nvSpPr>
        <p:spPr/>
        <p:txBody>
          <a:bodyPr/>
          <a:lstStyle/>
          <a:p>
            <a:pPr>
              <a:lnSpc>
                <a:spcPct val="85000"/>
              </a:lnSpc>
            </a:pPr>
            <a:r>
              <a:rPr lang="en-US"/>
              <a:t>Presentation Title | Author | Date</a:t>
            </a:r>
            <a:endParaRPr lang="en-US" dirty="0"/>
          </a:p>
        </p:txBody>
      </p:sp>
      <p:sp>
        <p:nvSpPr>
          <p:cNvPr id="9" name="Footer Placeholder 8"/>
          <p:cNvSpPr>
            <a:spLocks noGrp="1"/>
          </p:cNvSpPr>
          <p:nvPr>
            <p:ph type="ftr" sz="quarter" idx="16"/>
          </p:nvPr>
        </p:nvSpPr>
        <p:spPr/>
        <p:txBody>
          <a:bodyPr/>
          <a:lstStyle/>
          <a:p>
            <a:r>
              <a:rPr lang="en-US"/>
              <a:t>© 2017 Capgemini. All rights reserved.</a:t>
            </a:r>
            <a:endParaRPr lang="en-US" dirty="0"/>
          </a:p>
        </p:txBody>
      </p:sp>
      <p:sp>
        <p:nvSpPr>
          <p:cNvPr id="10" name="Slide Number Placeholder 9"/>
          <p:cNvSpPr>
            <a:spLocks noGrp="1"/>
          </p:cNvSpPr>
          <p:nvPr>
            <p:ph type="sldNum" sz="quarter" idx="17"/>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8361467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a:lnSpc>
                <a:spcPct val="85000"/>
              </a:lnSpc>
            </a:pPr>
            <a:r>
              <a:rPr lang="en-US"/>
              <a:t>Presentation Title | Author | Date</a:t>
            </a:r>
            <a:endParaRPr lang="en-US" dirty="0"/>
          </a:p>
        </p:txBody>
      </p:sp>
      <p:sp>
        <p:nvSpPr>
          <p:cNvPr id="6" name="Footer Placeholder 5"/>
          <p:cNvSpPr>
            <a:spLocks noGrp="1"/>
          </p:cNvSpPr>
          <p:nvPr>
            <p:ph type="ftr" sz="quarter" idx="11"/>
          </p:nvPr>
        </p:nvSpPr>
        <p:spPr/>
        <p:txBody>
          <a:bodyPr/>
          <a:lstStyle/>
          <a:p>
            <a:r>
              <a:rPr lang="en-US"/>
              <a:t>© 2017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2180858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1932114"/>
            <a:ext cx="5543551" cy="4521074"/>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1932113"/>
            <a:ext cx="5516444" cy="4519865"/>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5" name="Date Placeholder 4"/>
          <p:cNvSpPr>
            <a:spLocks noGrp="1"/>
          </p:cNvSpPr>
          <p:nvPr>
            <p:ph type="dt" sz="half" idx="14"/>
          </p:nvPr>
        </p:nvSpPr>
        <p:spPr/>
        <p:txBody>
          <a:bodyPr/>
          <a:lstStyle/>
          <a:p>
            <a:pPr>
              <a:lnSpc>
                <a:spcPct val="85000"/>
              </a:lnSpc>
            </a:pPr>
            <a:r>
              <a:rPr lang="en-US"/>
              <a:t>Presentation Title | Author | Date</a:t>
            </a:r>
            <a:endParaRPr lang="en-US" dirty="0"/>
          </a:p>
        </p:txBody>
      </p:sp>
      <p:sp>
        <p:nvSpPr>
          <p:cNvPr id="6" name="Footer Placeholder 5"/>
          <p:cNvSpPr>
            <a:spLocks noGrp="1"/>
          </p:cNvSpPr>
          <p:nvPr>
            <p:ph type="ftr" sz="quarter" idx="15"/>
          </p:nvPr>
        </p:nvSpPr>
        <p:spPr/>
        <p:txBody>
          <a:bodyPr/>
          <a:lstStyle/>
          <a:p>
            <a:r>
              <a:rPr lang="en-US"/>
              <a:t>© 2017 Capgemini. All rights reserved.</a:t>
            </a:r>
            <a:endParaRPr lang="en-US" dirty="0"/>
          </a:p>
        </p:txBody>
      </p:sp>
      <p:sp>
        <p:nvSpPr>
          <p:cNvPr id="7" name="Slide Number Placeholder 6"/>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Gre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a:lnSpc>
                <a:spcPct val="85000"/>
              </a:lnSpc>
            </a:pPr>
            <a:r>
              <a:rPr lang="en-US"/>
              <a:t>Presentation Title | Author | Date</a:t>
            </a:r>
            <a:endParaRPr lang="en-US" dirty="0"/>
          </a:p>
        </p:txBody>
      </p:sp>
      <p:sp>
        <p:nvSpPr>
          <p:cNvPr id="6" name="Footer Placeholder 5"/>
          <p:cNvSpPr>
            <a:spLocks noGrp="1"/>
          </p:cNvSpPr>
          <p:nvPr>
            <p:ph type="ftr" sz="quarter" idx="11"/>
          </p:nvPr>
        </p:nvSpPr>
        <p:spPr/>
        <p:txBody>
          <a:bodyPr/>
          <a:lstStyle/>
          <a:p>
            <a:r>
              <a:rPr lang="en-US"/>
              <a:t>© 2017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5258316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userDrawn="1">
            <p:custDataLst>
              <p:tags r:id="rId2"/>
            </p:custDataLst>
            <p:extLst>
              <p:ext uri="{D42A27DB-BD31-4B8C-83A1-F6EECF244321}">
                <p14:modId xmlns:p14="http://schemas.microsoft.com/office/powerpoint/2010/main" val="2123768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Freeform 9"/>
          <p:cNvSpPr>
            <a:spLocks/>
          </p:cNvSpPr>
          <p:nvPr userDrawn="1"/>
        </p:nvSpPr>
        <p:spPr bwMode="auto">
          <a:xfrm>
            <a:off x="9871075" y="0"/>
            <a:ext cx="2320925" cy="3840163"/>
          </a:xfrm>
          <a:custGeom>
            <a:avLst/>
            <a:gdLst>
              <a:gd name="T0" fmla="*/ 616 w 616"/>
              <a:gd name="T1" fmla="*/ 1021 h 1021"/>
              <a:gd name="T2" fmla="*/ 514 w 616"/>
              <a:gd name="T3" fmla="*/ 895 h 1021"/>
              <a:gd name="T4" fmla="*/ 331 w 616"/>
              <a:gd name="T5" fmla="*/ 659 h 1021"/>
              <a:gd name="T6" fmla="*/ 127 w 616"/>
              <a:gd name="T7" fmla="*/ 326 h 1021"/>
              <a:gd name="T8" fmla="*/ 0 w 616"/>
              <a:gd name="T9" fmla="*/ 0 h 1021"/>
              <a:gd name="T10" fmla="*/ 609 w 616"/>
              <a:gd name="T11" fmla="*/ 0 h 1021"/>
              <a:gd name="T12" fmla="*/ 616 w 616"/>
              <a:gd name="T13" fmla="*/ 8 h 1021"/>
              <a:gd name="T14" fmla="*/ 616 w 616"/>
              <a:gd name="T15" fmla="*/ 1021 h 10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6" h="1021">
                <a:moveTo>
                  <a:pt x="616" y="1021"/>
                </a:moveTo>
                <a:cubicBezTo>
                  <a:pt x="582" y="979"/>
                  <a:pt x="549" y="937"/>
                  <a:pt x="514" y="895"/>
                </a:cubicBezTo>
                <a:cubicBezTo>
                  <a:pt x="451" y="819"/>
                  <a:pt x="389" y="740"/>
                  <a:pt x="331" y="659"/>
                </a:cubicBezTo>
                <a:cubicBezTo>
                  <a:pt x="256" y="553"/>
                  <a:pt x="186" y="443"/>
                  <a:pt x="127" y="326"/>
                </a:cubicBezTo>
                <a:cubicBezTo>
                  <a:pt x="74" y="222"/>
                  <a:pt x="30" y="114"/>
                  <a:pt x="0" y="0"/>
                </a:cubicBezTo>
                <a:cubicBezTo>
                  <a:pt x="203" y="0"/>
                  <a:pt x="406" y="0"/>
                  <a:pt x="609" y="0"/>
                </a:cubicBezTo>
                <a:cubicBezTo>
                  <a:pt x="615" y="0"/>
                  <a:pt x="616" y="1"/>
                  <a:pt x="616" y="8"/>
                </a:cubicBezTo>
                <a:cubicBezTo>
                  <a:pt x="616" y="346"/>
                  <a:pt x="616" y="684"/>
                  <a:pt x="616" y="102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5" name="Freeform 5"/>
          <p:cNvSpPr>
            <a:spLocks/>
          </p:cNvSpPr>
          <p:nvPr userDrawn="1"/>
        </p:nvSpPr>
        <p:spPr bwMode="auto">
          <a:xfrm>
            <a:off x="4270375" y="2336800"/>
            <a:ext cx="7921625" cy="4521200"/>
          </a:xfrm>
          <a:custGeom>
            <a:avLst/>
            <a:gdLst>
              <a:gd name="T0" fmla="*/ 0 w 2110"/>
              <a:gd name="T1" fmla="*/ 304 h 1203"/>
              <a:gd name="T2" fmla="*/ 38 w 2110"/>
              <a:gd name="T3" fmla="*/ 248 h 1203"/>
              <a:gd name="T4" fmla="*/ 212 w 2110"/>
              <a:gd name="T5" fmla="*/ 75 h 1203"/>
              <a:gd name="T6" fmla="*/ 407 w 2110"/>
              <a:gd name="T7" fmla="*/ 8 h 1203"/>
              <a:gd name="T8" fmla="*/ 670 w 2110"/>
              <a:gd name="T9" fmla="*/ 39 h 1203"/>
              <a:gd name="T10" fmla="*/ 881 w 2110"/>
              <a:gd name="T11" fmla="*/ 121 h 1203"/>
              <a:gd name="T12" fmla="*/ 1243 w 2110"/>
              <a:gd name="T13" fmla="*/ 325 h 1203"/>
              <a:gd name="T14" fmla="*/ 1469 w 2110"/>
              <a:gd name="T15" fmla="*/ 455 h 1203"/>
              <a:gd name="T16" fmla="*/ 1857 w 2110"/>
              <a:gd name="T17" fmla="*/ 624 h 1203"/>
              <a:gd name="T18" fmla="*/ 2090 w 2110"/>
              <a:gd name="T19" fmla="*/ 684 h 1203"/>
              <a:gd name="T20" fmla="*/ 2110 w 2110"/>
              <a:gd name="T21" fmla="*/ 687 h 1203"/>
              <a:gd name="T22" fmla="*/ 2110 w 2110"/>
              <a:gd name="T23" fmla="*/ 1201 h 1203"/>
              <a:gd name="T24" fmla="*/ 2102 w 2110"/>
              <a:gd name="T25" fmla="*/ 1201 h 1203"/>
              <a:gd name="T26" fmla="*/ 150 w 2110"/>
              <a:gd name="T27" fmla="*/ 1201 h 1203"/>
              <a:gd name="T28" fmla="*/ 141 w 2110"/>
              <a:gd name="T29" fmla="*/ 1200 h 1203"/>
              <a:gd name="T30" fmla="*/ 145 w 2110"/>
              <a:gd name="T31" fmla="*/ 1195 h 1203"/>
              <a:gd name="T32" fmla="*/ 213 w 2110"/>
              <a:gd name="T33" fmla="*/ 1099 h 1203"/>
              <a:gd name="T34" fmla="*/ 229 w 2110"/>
              <a:gd name="T35" fmla="*/ 923 h 1203"/>
              <a:gd name="T36" fmla="*/ 183 w 2110"/>
              <a:gd name="T37" fmla="*/ 716 h 1203"/>
              <a:gd name="T38" fmla="*/ 79 w 2110"/>
              <a:gd name="T39" fmla="*/ 463 h 1203"/>
              <a:gd name="T40" fmla="*/ 0 w 2110"/>
              <a:gd name="T41" fmla="*/ 310 h 1203"/>
              <a:gd name="T42" fmla="*/ 0 w 2110"/>
              <a:gd name="T43" fmla="*/ 304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10" h="1203">
                <a:moveTo>
                  <a:pt x="0" y="304"/>
                </a:moveTo>
                <a:cubicBezTo>
                  <a:pt x="13" y="286"/>
                  <a:pt x="25" y="267"/>
                  <a:pt x="38" y="248"/>
                </a:cubicBezTo>
                <a:cubicBezTo>
                  <a:pt x="86" y="180"/>
                  <a:pt x="141" y="120"/>
                  <a:pt x="212" y="75"/>
                </a:cubicBezTo>
                <a:cubicBezTo>
                  <a:pt x="272" y="38"/>
                  <a:pt x="337" y="15"/>
                  <a:pt x="407" y="8"/>
                </a:cubicBezTo>
                <a:cubicBezTo>
                  <a:pt x="497" y="0"/>
                  <a:pt x="584" y="14"/>
                  <a:pt x="670" y="39"/>
                </a:cubicBezTo>
                <a:cubicBezTo>
                  <a:pt x="743" y="60"/>
                  <a:pt x="813" y="89"/>
                  <a:pt x="881" y="121"/>
                </a:cubicBezTo>
                <a:cubicBezTo>
                  <a:pt x="1007" y="180"/>
                  <a:pt x="1126" y="251"/>
                  <a:pt x="1243" y="325"/>
                </a:cubicBezTo>
                <a:cubicBezTo>
                  <a:pt x="1317" y="372"/>
                  <a:pt x="1392" y="415"/>
                  <a:pt x="1469" y="455"/>
                </a:cubicBezTo>
                <a:cubicBezTo>
                  <a:pt x="1595" y="521"/>
                  <a:pt x="1723" y="578"/>
                  <a:pt x="1857" y="624"/>
                </a:cubicBezTo>
                <a:cubicBezTo>
                  <a:pt x="1933" y="650"/>
                  <a:pt x="2011" y="671"/>
                  <a:pt x="2090" y="684"/>
                </a:cubicBezTo>
                <a:cubicBezTo>
                  <a:pt x="2097" y="685"/>
                  <a:pt x="2104" y="686"/>
                  <a:pt x="2110" y="687"/>
                </a:cubicBezTo>
                <a:cubicBezTo>
                  <a:pt x="2110" y="858"/>
                  <a:pt x="2110" y="1030"/>
                  <a:pt x="2110" y="1201"/>
                </a:cubicBezTo>
                <a:cubicBezTo>
                  <a:pt x="2107" y="1201"/>
                  <a:pt x="2104" y="1201"/>
                  <a:pt x="2102" y="1201"/>
                </a:cubicBezTo>
                <a:cubicBezTo>
                  <a:pt x="1451" y="1201"/>
                  <a:pt x="801" y="1201"/>
                  <a:pt x="150" y="1201"/>
                </a:cubicBezTo>
                <a:cubicBezTo>
                  <a:pt x="147" y="1201"/>
                  <a:pt x="143" y="1203"/>
                  <a:pt x="141" y="1200"/>
                </a:cubicBezTo>
                <a:cubicBezTo>
                  <a:pt x="141" y="1197"/>
                  <a:pt x="143" y="1196"/>
                  <a:pt x="145" y="1195"/>
                </a:cubicBezTo>
                <a:cubicBezTo>
                  <a:pt x="178" y="1170"/>
                  <a:pt x="199" y="1137"/>
                  <a:pt x="213" y="1099"/>
                </a:cubicBezTo>
                <a:cubicBezTo>
                  <a:pt x="234" y="1042"/>
                  <a:pt x="235" y="983"/>
                  <a:pt x="229" y="923"/>
                </a:cubicBezTo>
                <a:cubicBezTo>
                  <a:pt x="222" y="852"/>
                  <a:pt x="205" y="783"/>
                  <a:pt x="183" y="716"/>
                </a:cubicBezTo>
                <a:cubicBezTo>
                  <a:pt x="154" y="629"/>
                  <a:pt x="118" y="545"/>
                  <a:pt x="79" y="463"/>
                </a:cubicBezTo>
                <a:cubicBezTo>
                  <a:pt x="54" y="411"/>
                  <a:pt x="28" y="360"/>
                  <a:pt x="0" y="310"/>
                </a:cubicBezTo>
                <a:cubicBezTo>
                  <a:pt x="0" y="308"/>
                  <a:pt x="0" y="306"/>
                  <a:pt x="0" y="30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491419" y="164829"/>
            <a:ext cx="424356" cy="459624"/>
          </a:xfrm>
          <a:prstGeom prst="rect">
            <a:avLst/>
          </a:prstGeom>
        </p:spPr>
      </p:pic>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35"/>
          </p:nvPr>
        </p:nvSpPr>
        <p:spPr/>
        <p:txBody>
          <a:bodyPr/>
          <a:lstStyle/>
          <a:p>
            <a:pPr>
              <a:lnSpc>
                <a:spcPct val="85000"/>
              </a:lnSpc>
            </a:pPr>
            <a:r>
              <a:rPr lang="en-US"/>
              <a:t>Presentation Title | Author | Date</a:t>
            </a:r>
            <a:endParaRPr lang="en-US" dirty="0"/>
          </a:p>
        </p:txBody>
      </p:sp>
      <p:sp>
        <p:nvSpPr>
          <p:cNvPr id="6" name="Footer Placeholder 5"/>
          <p:cNvSpPr>
            <a:spLocks noGrp="1"/>
          </p:cNvSpPr>
          <p:nvPr>
            <p:ph type="ftr" sz="quarter" idx="36"/>
          </p:nvPr>
        </p:nvSpPr>
        <p:spPr/>
        <p:txBody>
          <a:bodyPr/>
          <a:lstStyle>
            <a:lvl1pPr>
              <a:defRPr>
                <a:solidFill>
                  <a:schemeClr val="bg1"/>
                </a:solidFill>
              </a:defRPr>
            </a:lvl1pPr>
          </a:lstStyle>
          <a:p>
            <a:r>
              <a:rPr lang="en-US"/>
              <a:t>© 2017 Capgemini. All rights reserved.</a:t>
            </a:r>
            <a:endParaRPr lang="en-US" dirty="0"/>
          </a:p>
        </p:txBody>
      </p:sp>
      <p:sp>
        <p:nvSpPr>
          <p:cNvPr id="8" name="Slide Number Placeholder 7"/>
          <p:cNvSpPr>
            <a:spLocks noGrp="1"/>
          </p:cNvSpPr>
          <p:nvPr>
            <p:ph type="sldNum" sz="quarter" idx="37"/>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cxnSp>
        <p:nvCxnSpPr>
          <p:cNvPr id="1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endParaRPr lang="de-DE"/>
          </a:p>
        </p:txBody>
      </p:sp>
      <p:sp>
        <p:nvSpPr>
          <p:cNvPr id="6" name="Date Placeholder 5"/>
          <p:cNvSpPr>
            <a:spLocks noGrp="1"/>
          </p:cNvSpPr>
          <p:nvPr>
            <p:ph type="dt" sz="half" idx="16"/>
          </p:nvPr>
        </p:nvSpPr>
        <p:spPr/>
        <p:txBody>
          <a:bodyPr/>
          <a:lstStyle/>
          <a:p>
            <a:pPr>
              <a:lnSpc>
                <a:spcPct val="85000"/>
              </a:lnSpc>
            </a:pPr>
            <a:r>
              <a:rPr lang="en-US"/>
              <a:t>Presentation Title | Author | Date</a:t>
            </a:r>
            <a:endParaRPr lang="en-US" dirty="0"/>
          </a:p>
        </p:txBody>
      </p:sp>
      <p:sp>
        <p:nvSpPr>
          <p:cNvPr id="7" name="Footer Placeholder 6"/>
          <p:cNvSpPr>
            <a:spLocks noGrp="1"/>
          </p:cNvSpPr>
          <p:nvPr>
            <p:ph type="ftr" sz="quarter" idx="17"/>
          </p:nvPr>
        </p:nvSpPr>
        <p:spPr/>
        <p:txBody>
          <a:bodyPr/>
          <a:lstStyle>
            <a:lvl1pPr>
              <a:defRPr>
                <a:solidFill>
                  <a:schemeClr val="bg1"/>
                </a:solidFill>
              </a:defRPr>
            </a:lvl1pPr>
          </a:lstStyle>
          <a:p>
            <a:r>
              <a:rPr lang="en-US"/>
              <a:t>© 2017 Capgemini. All rights reserved.</a:t>
            </a:r>
            <a:endParaRPr lang="en-US" dirty="0"/>
          </a:p>
        </p:txBody>
      </p:sp>
      <p:sp>
        <p:nvSpPr>
          <p:cNvPr id="8" name="Slide Number Placeholder 7"/>
          <p:cNvSpPr>
            <a:spLocks noGrp="1"/>
          </p:cNvSpPr>
          <p:nvPr>
            <p:ph type="sldNum" sz="quarter" idx="18"/>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2374674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ct val="100000"/>
              </a:lnSpc>
              <a:defRPr sz="28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ct val="1000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2" name="Date Placeholder 1"/>
          <p:cNvSpPr>
            <a:spLocks noGrp="1"/>
          </p:cNvSpPr>
          <p:nvPr>
            <p:ph type="dt" sz="half" idx="13"/>
          </p:nvPr>
        </p:nvSpPr>
        <p:spPr/>
        <p:txBody>
          <a:bodyPr/>
          <a:lstStyle/>
          <a:p>
            <a:pPr>
              <a:lnSpc>
                <a:spcPct val="85000"/>
              </a:lnSpc>
            </a:pPr>
            <a:r>
              <a:rPr lang="en-US"/>
              <a:t>Presentation Title | Author | Date</a:t>
            </a:r>
            <a:endParaRPr lang="en-US" dirty="0"/>
          </a:p>
        </p:txBody>
      </p:sp>
      <p:sp>
        <p:nvSpPr>
          <p:cNvPr id="3" name="Footer Placeholder 2"/>
          <p:cNvSpPr>
            <a:spLocks noGrp="1"/>
          </p:cNvSpPr>
          <p:nvPr>
            <p:ph type="ftr" sz="quarter" idx="14"/>
          </p:nvPr>
        </p:nvSpPr>
        <p:spPr/>
        <p:txBody>
          <a:bodyPr/>
          <a:lstStyle>
            <a:lvl1pPr>
              <a:defRPr>
                <a:solidFill>
                  <a:schemeClr val="bg1"/>
                </a:solidFill>
              </a:defRPr>
            </a:lvl1pPr>
          </a:lstStyle>
          <a:p>
            <a:r>
              <a:rPr lang="en-US"/>
              <a:t>© 2017 Capgemini. All rights reserved.</a:t>
            </a:r>
            <a:endParaRPr lang="en-US" dirty="0"/>
          </a:p>
        </p:txBody>
      </p:sp>
      <p:sp>
        <p:nvSpPr>
          <p:cNvPr id="4" name="Slide Number Placeholder 3"/>
          <p:cNvSpPr>
            <a:spLocks noGrp="1"/>
          </p:cNvSpPr>
          <p:nvPr>
            <p:ph type="sldNum" sz="quarter" idx="15"/>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6643351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720819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88556" cy="20548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6 global revenues of EUR 12.5 billion.</a:t>
            </a:r>
          </a:p>
          <a:p>
            <a:pPr algn="just">
              <a:lnSpc>
                <a:spcPts val="1200"/>
              </a:lnSpc>
              <a:spcBef>
                <a:spcPts val="600"/>
              </a:spcBef>
            </a:pPr>
            <a:r>
              <a:rPr lang="en-US" sz="900" dirty="0">
                <a:solidFill>
                  <a:schemeClr val="tx1"/>
                </a:solidFill>
              </a:rPr>
              <a:t>Visit us at</a:t>
            </a:r>
          </a:p>
          <a:p>
            <a:pPr marL="0" marR="0" lvl="0" indent="0" algn="just" defTabSz="914400" rtl="0" eaLnBrk="1" fontAlgn="auto" latinLnBrk="0" hangingPunct="1">
              <a:lnSpc>
                <a:spcPts val="12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12ABDB"/>
                </a:solidFill>
                <a:effectLst/>
                <a:uLnTx/>
                <a:uFillTx/>
                <a:latin typeface="+mn-lt"/>
                <a:ea typeface="+mn-ea"/>
                <a:cs typeface="+mn-cs"/>
                <a:hlinkClick r:id="rId6"/>
              </a:rPr>
              <a:t>www.capgemini.com</a:t>
            </a:r>
            <a:endParaRPr kumimoji="0" lang="en-US" sz="1400" b="0" i="0" u="none" strike="noStrike" kern="1200" cap="none" spc="0" normalizeH="0" baseline="0" noProof="0" dirty="0">
              <a:ln>
                <a:noFill/>
              </a:ln>
              <a:solidFill>
                <a:srgbClr val="12ABDB"/>
              </a:solidFill>
              <a:effectLst/>
              <a:uLnTx/>
              <a:uFillTx/>
              <a:latin typeface="+mn-lt"/>
              <a:ea typeface="+mn-ea"/>
              <a:cs typeface="+mn-cs"/>
            </a:endParaRPr>
          </a:p>
        </p:txBody>
      </p:sp>
      <p:sp>
        <p:nvSpPr>
          <p:cNvPr id="15" name="Rectangle 14"/>
          <p:cNvSpPr/>
          <p:nvPr userDrawn="1"/>
        </p:nvSpPr>
        <p:spPr>
          <a:xfrm>
            <a:off x="6536184" y="2507082"/>
            <a:ext cx="221996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pic>
        <p:nvPicPr>
          <p:cNvPr id="17" name="Picture 2" descr="D:\My Work\Template\Icons\Social Media\LinkedIN.png">
            <a:hlinkClick r:id="rId7"/>
          </p:cNvPr>
          <p:cNvPicPr>
            <a:picLocks noChangeAspect="1" noChangeArrowheads="1"/>
          </p:cNvPicPr>
          <p:nvPr userDrawn="1"/>
        </p:nvPicPr>
        <p:blipFill>
          <a:blip r:embed="rId8"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9"/>
          </p:cNvPr>
          <p:cNvPicPr>
            <a:picLocks noChangeAspect="1" noChangeArrowheads="1"/>
          </p:cNvPicPr>
          <p:nvPr userDrawn="1"/>
        </p:nvPicPr>
        <p:blipFill>
          <a:blip r:embed="rId10"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11"/>
          </p:cNvPr>
          <p:cNvPicPr>
            <a:picLocks noChangeAspect="1" noChangeArrowheads="1"/>
          </p:cNvPicPr>
          <p:nvPr userDrawn="1"/>
        </p:nvPicPr>
        <p:blipFill>
          <a:blip r:embed="rId12"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13"/>
          </p:cNvPr>
          <p:cNvPicPr>
            <a:picLocks noChangeAspect="1" noChangeArrowheads="1"/>
          </p:cNvPicPr>
          <p:nvPr userDrawn="1"/>
        </p:nvPicPr>
        <p:blipFill>
          <a:blip r:embed="rId14"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5"/>
          </p:cNvPr>
          <p:cNvPicPr>
            <a:picLocks noChangeAspect="1" noChangeArrowheads="1"/>
          </p:cNvPicPr>
          <p:nvPr userDrawn="1"/>
        </p:nvPicPr>
        <p:blipFill>
          <a:blip r:embed="rId16"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pic>
        <p:nvPicPr>
          <p:cNvPr id="2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8">
            <a:extLst>
              <a:ext uri="{96DAC541-7B7A-43D3-8B79-37D633B846F1}">
                <asvg:svgBlip xmlns:asvg="http://schemas.microsoft.com/office/drawing/2016/SVG/main" r:embed="rId19"/>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2">
    <p:bg>
      <p:bgPr>
        <a:solidFill>
          <a:schemeClr val="bg2"/>
        </a:solidFill>
        <a:effectLst/>
      </p:bgPr>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021751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3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5"/>
          <p:cNvSpPr>
            <a:spLocks/>
          </p:cNvSpPr>
          <p:nvPr userDrawn="1"/>
        </p:nvSpPr>
        <p:spPr bwMode="auto">
          <a:xfrm>
            <a:off x="2238375" y="927100"/>
            <a:ext cx="9953625" cy="5930900"/>
          </a:xfrm>
          <a:custGeom>
            <a:avLst/>
            <a:gdLst>
              <a:gd name="T0" fmla="*/ 2651 w 2651"/>
              <a:gd name="T1" fmla="*/ 1579 h 1579"/>
              <a:gd name="T2" fmla="*/ 77 w 2651"/>
              <a:gd name="T3" fmla="*/ 1579 h 1579"/>
              <a:gd name="T4" fmla="*/ 74 w 2651"/>
              <a:gd name="T5" fmla="*/ 1571 h 1579"/>
              <a:gd name="T6" fmla="*/ 19 w 2651"/>
              <a:gd name="T7" fmla="*/ 1324 h 1579"/>
              <a:gd name="T8" fmla="*/ 2 w 2651"/>
              <a:gd name="T9" fmla="*/ 1163 h 1579"/>
              <a:gd name="T10" fmla="*/ 0 w 2651"/>
              <a:gd name="T11" fmla="*/ 1129 h 1579"/>
              <a:gd name="T12" fmla="*/ 0 w 2651"/>
              <a:gd name="T13" fmla="*/ 1054 h 1579"/>
              <a:gd name="T14" fmla="*/ 1 w 2651"/>
              <a:gd name="T15" fmla="*/ 1048 h 1579"/>
              <a:gd name="T16" fmla="*/ 5 w 2651"/>
              <a:gd name="T17" fmla="*/ 973 h 1579"/>
              <a:gd name="T18" fmla="*/ 29 w 2651"/>
              <a:gd name="T19" fmla="*/ 824 h 1579"/>
              <a:gd name="T20" fmla="*/ 141 w 2651"/>
              <a:gd name="T21" fmla="*/ 541 h 1579"/>
              <a:gd name="T22" fmla="*/ 316 w 2651"/>
              <a:gd name="T23" fmla="*/ 309 h 1579"/>
              <a:gd name="T24" fmla="*/ 432 w 2651"/>
              <a:gd name="T25" fmla="*/ 200 h 1579"/>
              <a:gd name="T26" fmla="*/ 625 w 2651"/>
              <a:gd name="T27" fmla="*/ 56 h 1579"/>
              <a:gd name="T28" fmla="*/ 712 w 2651"/>
              <a:gd name="T29" fmla="*/ 0 h 1579"/>
              <a:gd name="T30" fmla="*/ 714 w 2651"/>
              <a:gd name="T31" fmla="*/ 0 h 1579"/>
              <a:gd name="T32" fmla="*/ 718 w 2651"/>
              <a:gd name="T33" fmla="*/ 3 h 1579"/>
              <a:gd name="T34" fmla="*/ 921 w 2651"/>
              <a:gd name="T35" fmla="*/ 110 h 1579"/>
              <a:gd name="T36" fmla="*/ 1211 w 2651"/>
              <a:gd name="T37" fmla="*/ 250 h 1579"/>
              <a:gd name="T38" fmla="*/ 1535 w 2651"/>
              <a:gd name="T39" fmla="*/ 384 h 1579"/>
              <a:gd name="T40" fmla="*/ 1706 w 2651"/>
              <a:gd name="T41" fmla="*/ 443 h 1579"/>
              <a:gd name="T42" fmla="*/ 2045 w 2651"/>
              <a:gd name="T43" fmla="*/ 528 h 1579"/>
              <a:gd name="T44" fmla="*/ 2329 w 2651"/>
              <a:gd name="T45" fmla="*/ 552 h 1579"/>
              <a:gd name="T46" fmla="*/ 2421 w 2651"/>
              <a:gd name="T47" fmla="*/ 546 h 1579"/>
              <a:gd name="T48" fmla="*/ 2639 w 2651"/>
              <a:gd name="T49" fmla="*/ 486 h 1579"/>
              <a:gd name="T50" fmla="*/ 2651 w 2651"/>
              <a:gd name="T51" fmla="*/ 493 h 1579"/>
              <a:gd name="T52" fmla="*/ 2651 w 2651"/>
              <a:gd name="T53" fmla="*/ 1569 h 1579"/>
              <a:gd name="T54" fmla="*/ 2651 w 2651"/>
              <a:gd name="T55" fmla="*/ 1579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1" h="1579">
                <a:moveTo>
                  <a:pt x="2651" y="1579"/>
                </a:moveTo>
                <a:cubicBezTo>
                  <a:pt x="1793" y="1579"/>
                  <a:pt x="935" y="1579"/>
                  <a:pt x="77" y="1579"/>
                </a:cubicBezTo>
                <a:cubicBezTo>
                  <a:pt x="76" y="1576"/>
                  <a:pt x="75" y="1574"/>
                  <a:pt x="74" y="1571"/>
                </a:cubicBezTo>
                <a:cubicBezTo>
                  <a:pt x="51" y="1490"/>
                  <a:pt x="32" y="1407"/>
                  <a:pt x="19" y="1324"/>
                </a:cubicBezTo>
                <a:cubicBezTo>
                  <a:pt x="10" y="1270"/>
                  <a:pt x="5" y="1217"/>
                  <a:pt x="2" y="1163"/>
                </a:cubicBezTo>
                <a:cubicBezTo>
                  <a:pt x="1" y="1152"/>
                  <a:pt x="2" y="1140"/>
                  <a:pt x="0" y="1129"/>
                </a:cubicBezTo>
                <a:cubicBezTo>
                  <a:pt x="0" y="1104"/>
                  <a:pt x="0" y="1079"/>
                  <a:pt x="0" y="1054"/>
                </a:cubicBezTo>
                <a:cubicBezTo>
                  <a:pt x="0" y="1052"/>
                  <a:pt x="1" y="1050"/>
                  <a:pt x="1" y="1048"/>
                </a:cubicBezTo>
                <a:cubicBezTo>
                  <a:pt x="1" y="1023"/>
                  <a:pt x="3" y="998"/>
                  <a:pt x="5" y="973"/>
                </a:cubicBezTo>
                <a:cubicBezTo>
                  <a:pt x="10" y="923"/>
                  <a:pt x="18" y="873"/>
                  <a:pt x="29" y="824"/>
                </a:cubicBezTo>
                <a:cubicBezTo>
                  <a:pt x="53" y="724"/>
                  <a:pt x="90" y="630"/>
                  <a:pt x="141" y="541"/>
                </a:cubicBezTo>
                <a:cubicBezTo>
                  <a:pt x="190" y="457"/>
                  <a:pt x="249" y="380"/>
                  <a:pt x="316" y="309"/>
                </a:cubicBezTo>
                <a:cubicBezTo>
                  <a:pt x="352" y="271"/>
                  <a:pt x="391" y="235"/>
                  <a:pt x="432" y="200"/>
                </a:cubicBezTo>
                <a:cubicBezTo>
                  <a:pt x="493" y="148"/>
                  <a:pt x="558" y="100"/>
                  <a:pt x="625" y="56"/>
                </a:cubicBezTo>
                <a:cubicBezTo>
                  <a:pt x="653" y="37"/>
                  <a:pt x="683" y="19"/>
                  <a:pt x="712" y="0"/>
                </a:cubicBezTo>
                <a:cubicBezTo>
                  <a:pt x="712" y="0"/>
                  <a:pt x="713" y="0"/>
                  <a:pt x="714" y="0"/>
                </a:cubicBezTo>
                <a:cubicBezTo>
                  <a:pt x="715" y="1"/>
                  <a:pt x="717" y="2"/>
                  <a:pt x="718" y="3"/>
                </a:cubicBezTo>
                <a:cubicBezTo>
                  <a:pt x="785" y="39"/>
                  <a:pt x="853" y="75"/>
                  <a:pt x="921" y="110"/>
                </a:cubicBezTo>
                <a:cubicBezTo>
                  <a:pt x="1017" y="159"/>
                  <a:pt x="1113" y="206"/>
                  <a:pt x="1211" y="250"/>
                </a:cubicBezTo>
                <a:cubicBezTo>
                  <a:pt x="1318" y="298"/>
                  <a:pt x="1425" y="344"/>
                  <a:pt x="1535" y="384"/>
                </a:cubicBezTo>
                <a:cubicBezTo>
                  <a:pt x="1591" y="405"/>
                  <a:pt x="1648" y="425"/>
                  <a:pt x="1706" y="443"/>
                </a:cubicBezTo>
                <a:cubicBezTo>
                  <a:pt x="1817" y="478"/>
                  <a:pt x="1930" y="508"/>
                  <a:pt x="2045" y="528"/>
                </a:cubicBezTo>
                <a:cubicBezTo>
                  <a:pt x="2139" y="544"/>
                  <a:pt x="2234" y="554"/>
                  <a:pt x="2329" y="552"/>
                </a:cubicBezTo>
                <a:cubicBezTo>
                  <a:pt x="2360" y="551"/>
                  <a:pt x="2390" y="549"/>
                  <a:pt x="2421" y="546"/>
                </a:cubicBezTo>
                <a:cubicBezTo>
                  <a:pt x="2497" y="537"/>
                  <a:pt x="2570" y="519"/>
                  <a:pt x="2639" y="486"/>
                </a:cubicBezTo>
                <a:cubicBezTo>
                  <a:pt x="2651" y="480"/>
                  <a:pt x="2651" y="479"/>
                  <a:pt x="2651" y="493"/>
                </a:cubicBezTo>
                <a:cubicBezTo>
                  <a:pt x="2651" y="852"/>
                  <a:pt x="2651" y="1210"/>
                  <a:pt x="2651" y="1569"/>
                </a:cubicBezTo>
                <a:cubicBezTo>
                  <a:pt x="2651" y="1572"/>
                  <a:pt x="2651" y="1576"/>
                  <a:pt x="2651" y="157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3068960"/>
            <a:ext cx="4031828"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407989" y="2002973"/>
            <a:ext cx="4031828"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6" name="Date Placeholder 5"/>
          <p:cNvSpPr>
            <a:spLocks noGrp="1"/>
          </p:cNvSpPr>
          <p:nvPr>
            <p:ph type="dt" sz="half" idx="11"/>
          </p:nvPr>
        </p:nvSpPr>
        <p:spPr/>
        <p:txBody>
          <a:bodyPr/>
          <a:lstStyle>
            <a:lvl1pPr>
              <a:defRPr>
                <a:solidFill>
                  <a:schemeClr val="bg1"/>
                </a:solidFill>
              </a:defRPr>
            </a:lvl1pPr>
          </a:lstStyle>
          <a:p>
            <a:pPr>
              <a:lnSpc>
                <a:spcPct val="85000"/>
              </a:lnSpc>
            </a:pPr>
            <a:r>
              <a:rPr lang="en-US"/>
              <a:t>Presentation Title | Author | Date</a:t>
            </a:r>
            <a:endParaRPr lang="en-US" dirty="0"/>
          </a:p>
        </p:txBody>
      </p:sp>
      <p:sp>
        <p:nvSpPr>
          <p:cNvPr id="7" name="Footer Placeholder 6"/>
          <p:cNvSpPr>
            <a:spLocks noGrp="1"/>
          </p:cNvSpPr>
          <p:nvPr>
            <p:ph type="ftr" sz="quarter" idx="12"/>
          </p:nvPr>
        </p:nvSpPr>
        <p:spPr/>
        <p:txBody>
          <a:bodyPr/>
          <a:lstStyle>
            <a:lvl1pPr>
              <a:defRPr>
                <a:solidFill>
                  <a:schemeClr val="bg1"/>
                </a:solidFill>
              </a:defRPr>
            </a:lvl1pPr>
          </a:lstStyle>
          <a:p>
            <a:r>
              <a:rPr lang="en-US"/>
              <a:t>© 2017 Capgemini. All rights reserved.</a:t>
            </a:r>
            <a:endParaRPr lang="en-US" dirty="0"/>
          </a:p>
        </p:txBody>
      </p:sp>
      <p:sp>
        <p:nvSpPr>
          <p:cNvPr id="9" name="Slide Number Placeholder 8"/>
          <p:cNvSpPr>
            <a:spLocks noGrp="1"/>
          </p:cNvSpPr>
          <p:nvPr>
            <p:ph type="sldNum" sz="quarter" idx="13"/>
          </p:nvPr>
        </p:nvSpPr>
        <p:spPr/>
        <p:txBody>
          <a:bodyPr/>
          <a:lstStyle>
            <a:lvl1pPr>
              <a:defRPr>
                <a:solidFill>
                  <a:schemeClr val="bg1"/>
                </a:solidFill>
              </a:defRPr>
            </a:lvl1pPr>
          </a:lstStyle>
          <a:p>
            <a:fld id="{DD205EFF-948D-4AF6-B54C-65639188FB5F}" type="slidenum">
              <a:rPr lang="en-US" smtClean="0"/>
              <a:pPr/>
              <a:t>‹#›</a:t>
            </a:fld>
            <a:endParaRPr lang="en-US" dirty="0"/>
          </a:p>
        </p:txBody>
      </p:sp>
      <p:sp>
        <p:nvSpPr>
          <p:cNvPr id="5" name="Picture Placeholder 4"/>
          <p:cNvSpPr>
            <a:spLocks noGrp="1"/>
          </p:cNvSpPr>
          <p:nvPr>
            <p:ph type="pic" sz="quarter" idx="14"/>
          </p:nvPr>
        </p:nvSpPr>
        <p:spPr>
          <a:xfrm>
            <a:off x="4440238" y="0"/>
            <a:ext cx="7751762" cy="6858000"/>
          </a:xfrm>
          <a:solidFill>
            <a:schemeClr val="bg2"/>
          </a:solidFill>
        </p:spPr>
        <p:txBody>
          <a:bodyPr anchor="ctr"/>
          <a:lstStyle>
            <a:lvl1pPr algn="ctr">
              <a:defRPr/>
            </a:lvl1pPr>
          </a:lstStyle>
          <a:p>
            <a:r>
              <a:rPr lang="en-US"/>
              <a:t>Click icon to add picture</a:t>
            </a:r>
            <a:endParaRPr lang="en-GB"/>
          </a:p>
        </p:txBody>
      </p:sp>
    </p:spTree>
    <p:extLst>
      <p:ext uri="{BB962C8B-B14F-4D97-AF65-F5344CB8AC3E}">
        <p14:creationId xmlns:p14="http://schemas.microsoft.com/office/powerpoint/2010/main" val="651654949"/>
      </p:ext>
    </p:extLst>
  </p:cSld>
  <p:clrMapOvr>
    <a:masterClrMapping/>
  </p:clrMapOvr>
  <p:extLst mod="1">
    <p:ext uri="{DCECCB84-F9BA-43D5-87BE-67443E8EF086}">
      <p15:sldGuideLst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Opener1">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98471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7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Freeform 5"/>
          <p:cNvSpPr>
            <a:spLocks/>
          </p:cNvSpPr>
          <p:nvPr userDrawn="1"/>
        </p:nvSpPr>
        <p:spPr bwMode="auto">
          <a:xfrm flipH="1">
            <a:off x="1055300" y="0"/>
            <a:ext cx="11136700" cy="6858000"/>
          </a:xfrm>
          <a:custGeom>
            <a:avLst/>
            <a:gdLst>
              <a:gd name="T0" fmla="*/ 810 w 2953"/>
              <a:gd name="T1" fmla="*/ 2160 h 2160"/>
              <a:gd name="T2" fmla="*/ 0 w 2953"/>
              <a:gd name="T3" fmla="*/ 2160 h 2160"/>
              <a:gd name="T4" fmla="*/ 0 w 2953"/>
              <a:gd name="T5" fmla="*/ 0 h 2160"/>
              <a:gd name="T6" fmla="*/ 2953 w 2953"/>
              <a:gd name="T7" fmla="*/ 0 h 2160"/>
              <a:gd name="T8" fmla="*/ 2951 w 2953"/>
              <a:gd name="T9" fmla="*/ 9 h 2160"/>
              <a:gd name="T10" fmla="*/ 2912 w 2953"/>
              <a:gd name="T11" fmla="*/ 104 h 2160"/>
              <a:gd name="T12" fmla="*/ 2689 w 2953"/>
              <a:gd name="T13" fmla="*/ 359 h 2160"/>
              <a:gd name="T14" fmla="*/ 2421 w 2953"/>
              <a:gd name="T15" fmla="*/ 509 h 2160"/>
              <a:gd name="T16" fmla="*/ 1974 w 2953"/>
              <a:gd name="T17" fmla="*/ 701 h 2160"/>
              <a:gd name="T18" fmla="*/ 1632 w 2953"/>
              <a:gd name="T19" fmla="*/ 876 h 2160"/>
              <a:gd name="T20" fmla="*/ 1411 w 2953"/>
              <a:gd name="T21" fmla="*/ 1047 h 2160"/>
              <a:gd name="T22" fmla="*/ 1306 w 2953"/>
              <a:gd name="T23" fmla="*/ 1219 h 2160"/>
              <a:gd name="T24" fmla="*/ 1303 w 2953"/>
              <a:gd name="T25" fmla="*/ 1459 h 2160"/>
              <a:gd name="T26" fmla="*/ 1396 w 2953"/>
              <a:gd name="T27" fmla="*/ 1682 h 2160"/>
              <a:gd name="T28" fmla="*/ 1403 w 2953"/>
              <a:gd name="T29" fmla="*/ 1695 h 2160"/>
              <a:gd name="T30" fmla="*/ 1398 w 2953"/>
              <a:gd name="T31" fmla="*/ 1700 h 2160"/>
              <a:gd name="T32" fmla="*/ 882 w 2953"/>
              <a:gd name="T33" fmla="*/ 2110 h 2160"/>
              <a:gd name="T34" fmla="*/ 810 w 2953"/>
              <a:gd name="T35" fmla="*/ 216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53" h="2160">
                <a:moveTo>
                  <a:pt x="810" y="2160"/>
                </a:moveTo>
                <a:cubicBezTo>
                  <a:pt x="540" y="2160"/>
                  <a:pt x="270" y="2160"/>
                  <a:pt x="0" y="2160"/>
                </a:cubicBezTo>
                <a:cubicBezTo>
                  <a:pt x="0" y="1440"/>
                  <a:pt x="0" y="720"/>
                  <a:pt x="0" y="0"/>
                </a:cubicBezTo>
                <a:cubicBezTo>
                  <a:pt x="984" y="0"/>
                  <a:pt x="1969" y="0"/>
                  <a:pt x="2953" y="0"/>
                </a:cubicBezTo>
                <a:cubicBezTo>
                  <a:pt x="2952" y="3"/>
                  <a:pt x="2952" y="6"/>
                  <a:pt x="2951" y="9"/>
                </a:cubicBezTo>
                <a:cubicBezTo>
                  <a:pt x="2938" y="41"/>
                  <a:pt x="2927" y="73"/>
                  <a:pt x="2912" y="104"/>
                </a:cubicBezTo>
                <a:cubicBezTo>
                  <a:pt x="2859" y="208"/>
                  <a:pt x="2782" y="290"/>
                  <a:pt x="2689" y="359"/>
                </a:cubicBezTo>
                <a:cubicBezTo>
                  <a:pt x="2607" y="421"/>
                  <a:pt x="2516" y="468"/>
                  <a:pt x="2421" y="509"/>
                </a:cubicBezTo>
                <a:cubicBezTo>
                  <a:pt x="2272" y="572"/>
                  <a:pt x="2123" y="636"/>
                  <a:pt x="1974" y="701"/>
                </a:cubicBezTo>
                <a:cubicBezTo>
                  <a:pt x="1857" y="753"/>
                  <a:pt x="1742" y="809"/>
                  <a:pt x="1632" y="876"/>
                </a:cubicBezTo>
                <a:cubicBezTo>
                  <a:pt x="1551" y="924"/>
                  <a:pt x="1475" y="978"/>
                  <a:pt x="1411" y="1047"/>
                </a:cubicBezTo>
                <a:cubicBezTo>
                  <a:pt x="1364" y="1097"/>
                  <a:pt x="1327" y="1153"/>
                  <a:pt x="1306" y="1219"/>
                </a:cubicBezTo>
                <a:cubicBezTo>
                  <a:pt x="1280" y="1299"/>
                  <a:pt x="1283" y="1379"/>
                  <a:pt x="1303" y="1459"/>
                </a:cubicBezTo>
                <a:cubicBezTo>
                  <a:pt x="1323" y="1538"/>
                  <a:pt x="1357" y="1612"/>
                  <a:pt x="1396" y="1682"/>
                </a:cubicBezTo>
                <a:cubicBezTo>
                  <a:pt x="1399" y="1687"/>
                  <a:pt x="1401" y="1691"/>
                  <a:pt x="1403" y="1695"/>
                </a:cubicBezTo>
                <a:cubicBezTo>
                  <a:pt x="1401" y="1697"/>
                  <a:pt x="1399" y="1698"/>
                  <a:pt x="1398" y="1700"/>
                </a:cubicBezTo>
                <a:cubicBezTo>
                  <a:pt x="1232" y="1845"/>
                  <a:pt x="1061" y="1983"/>
                  <a:pt x="882" y="2110"/>
                </a:cubicBezTo>
                <a:cubicBezTo>
                  <a:pt x="858" y="2127"/>
                  <a:pt x="834" y="2143"/>
                  <a:pt x="810" y="21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Opener2">
    <p:bg>
      <p:bgPr>
        <a:solidFill>
          <a:schemeClr val="bg2"/>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5564941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Freeform 5"/>
          <p:cNvSpPr>
            <a:spLocks/>
          </p:cNvSpPr>
          <p:nvPr userDrawn="1"/>
        </p:nvSpPr>
        <p:spPr bwMode="auto">
          <a:xfrm>
            <a:off x="4922327" y="838199"/>
            <a:ext cx="7287274" cy="6019801"/>
          </a:xfrm>
          <a:custGeom>
            <a:avLst/>
            <a:gdLst>
              <a:gd name="T0" fmla="*/ 0 w 2297"/>
              <a:gd name="T1" fmla="*/ 973 h 1897"/>
              <a:gd name="T2" fmla="*/ 0 w 2297"/>
              <a:gd name="T3" fmla="*/ 950 h 1897"/>
              <a:gd name="T4" fmla="*/ 55 w 2297"/>
              <a:gd name="T5" fmla="*/ 928 h 1897"/>
              <a:gd name="T6" fmla="*/ 275 w 2297"/>
              <a:gd name="T7" fmla="*/ 795 h 1897"/>
              <a:gd name="T8" fmla="*/ 597 w 2297"/>
              <a:gd name="T9" fmla="*/ 546 h 1897"/>
              <a:gd name="T10" fmla="*/ 998 w 2297"/>
              <a:gd name="T11" fmla="*/ 250 h 1897"/>
              <a:gd name="T12" fmla="*/ 1311 w 2297"/>
              <a:gd name="T13" fmla="*/ 85 h 1897"/>
              <a:gd name="T14" fmla="*/ 1607 w 2297"/>
              <a:gd name="T15" fmla="*/ 6 h 1897"/>
              <a:gd name="T16" fmla="*/ 1667 w 2297"/>
              <a:gd name="T17" fmla="*/ 0 h 1897"/>
              <a:gd name="T18" fmla="*/ 1772 w 2297"/>
              <a:gd name="T19" fmla="*/ 0 h 1897"/>
              <a:gd name="T20" fmla="*/ 1851 w 2297"/>
              <a:gd name="T21" fmla="*/ 9 h 1897"/>
              <a:gd name="T22" fmla="*/ 2297 w 2297"/>
              <a:gd name="T23" fmla="*/ 211 h 1897"/>
              <a:gd name="T24" fmla="*/ 2297 w 2297"/>
              <a:gd name="T25" fmla="*/ 1394 h 1897"/>
              <a:gd name="T26" fmla="*/ 2105 w 2297"/>
              <a:gd name="T27" fmla="*/ 1520 h 1897"/>
              <a:gd name="T28" fmla="*/ 1803 w 2297"/>
              <a:gd name="T29" fmla="*/ 1632 h 1897"/>
              <a:gd name="T30" fmla="*/ 1424 w 2297"/>
              <a:gd name="T31" fmla="*/ 1719 h 1897"/>
              <a:gd name="T32" fmla="*/ 1119 w 2297"/>
              <a:gd name="T33" fmla="*/ 1799 h 1897"/>
              <a:gd name="T34" fmla="*/ 939 w 2297"/>
              <a:gd name="T35" fmla="*/ 1886 h 1897"/>
              <a:gd name="T36" fmla="*/ 910 w 2297"/>
              <a:gd name="T37" fmla="*/ 1897 h 1897"/>
              <a:gd name="T38" fmla="*/ 228 w 2297"/>
              <a:gd name="T39" fmla="*/ 1897 h 1897"/>
              <a:gd name="T40" fmla="*/ 206 w 2297"/>
              <a:gd name="T41" fmla="*/ 1883 h 1897"/>
              <a:gd name="T42" fmla="*/ 84 w 2297"/>
              <a:gd name="T43" fmla="*/ 1533 h 1897"/>
              <a:gd name="T44" fmla="*/ 3 w 2297"/>
              <a:gd name="T45" fmla="*/ 1016 h 1897"/>
              <a:gd name="T46" fmla="*/ 0 w 2297"/>
              <a:gd name="T47" fmla="*/ 973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97" h="1897">
                <a:moveTo>
                  <a:pt x="0" y="973"/>
                </a:moveTo>
                <a:cubicBezTo>
                  <a:pt x="0" y="965"/>
                  <a:pt x="0" y="958"/>
                  <a:pt x="0" y="950"/>
                </a:cubicBezTo>
                <a:cubicBezTo>
                  <a:pt x="19" y="945"/>
                  <a:pt x="37" y="936"/>
                  <a:pt x="55" y="928"/>
                </a:cubicBezTo>
                <a:cubicBezTo>
                  <a:pt x="133" y="892"/>
                  <a:pt x="205" y="845"/>
                  <a:pt x="275" y="795"/>
                </a:cubicBezTo>
                <a:cubicBezTo>
                  <a:pt x="386" y="717"/>
                  <a:pt x="490" y="630"/>
                  <a:pt x="597" y="546"/>
                </a:cubicBezTo>
                <a:cubicBezTo>
                  <a:pt x="727" y="443"/>
                  <a:pt x="858" y="341"/>
                  <a:pt x="998" y="250"/>
                </a:cubicBezTo>
                <a:cubicBezTo>
                  <a:pt x="1098" y="187"/>
                  <a:pt x="1201" y="129"/>
                  <a:pt x="1311" y="85"/>
                </a:cubicBezTo>
                <a:cubicBezTo>
                  <a:pt x="1406" y="46"/>
                  <a:pt x="1504" y="18"/>
                  <a:pt x="1607" y="6"/>
                </a:cubicBezTo>
                <a:cubicBezTo>
                  <a:pt x="1627" y="4"/>
                  <a:pt x="1647" y="2"/>
                  <a:pt x="1667" y="0"/>
                </a:cubicBezTo>
                <a:cubicBezTo>
                  <a:pt x="1702" y="0"/>
                  <a:pt x="1737" y="0"/>
                  <a:pt x="1772" y="0"/>
                </a:cubicBezTo>
                <a:cubicBezTo>
                  <a:pt x="1799" y="3"/>
                  <a:pt x="1825" y="5"/>
                  <a:pt x="1851" y="9"/>
                </a:cubicBezTo>
                <a:cubicBezTo>
                  <a:pt x="2018" y="35"/>
                  <a:pt x="2168" y="99"/>
                  <a:pt x="2297" y="211"/>
                </a:cubicBezTo>
                <a:cubicBezTo>
                  <a:pt x="2297" y="605"/>
                  <a:pt x="2297" y="999"/>
                  <a:pt x="2297" y="1394"/>
                </a:cubicBezTo>
                <a:cubicBezTo>
                  <a:pt x="2238" y="1444"/>
                  <a:pt x="2173" y="1485"/>
                  <a:pt x="2105" y="1520"/>
                </a:cubicBezTo>
                <a:cubicBezTo>
                  <a:pt x="2008" y="1569"/>
                  <a:pt x="1907" y="1604"/>
                  <a:pt x="1803" y="1632"/>
                </a:cubicBezTo>
                <a:cubicBezTo>
                  <a:pt x="1678" y="1667"/>
                  <a:pt x="1551" y="1691"/>
                  <a:pt x="1424" y="1719"/>
                </a:cubicBezTo>
                <a:cubicBezTo>
                  <a:pt x="1321" y="1741"/>
                  <a:pt x="1218" y="1764"/>
                  <a:pt x="1119" y="1799"/>
                </a:cubicBezTo>
                <a:cubicBezTo>
                  <a:pt x="1056" y="1821"/>
                  <a:pt x="995" y="1849"/>
                  <a:pt x="939" y="1886"/>
                </a:cubicBezTo>
                <a:cubicBezTo>
                  <a:pt x="930" y="1892"/>
                  <a:pt x="922" y="1897"/>
                  <a:pt x="910" y="1897"/>
                </a:cubicBezTo>
                <a:cubicBezTo>
                  <a:pt x="683" y="1897"/>
                  <a:pt x="455" y="1897"/>
                  <a:pt x="228" y="1897"/>
                </a:cubicBezTo>
                <a:cubicBezTo>
                  <a:pt x="216" y="1897"/>
                  <a:pt x="211" y="1893"/>
                  <a:pt x="206" y="1883"/>
                </a:cubicBezTo>
                <a:cubicBezTo>
                  <a:pt x="155" y="1770"/>
                  <a:pt x="115" y="1653"/>
                  <a:pt x="84" y="1533"/>
                </a:cubicBezTo>
                <a:cubicBezTo>
                  <a:pt x="40" y="1363"/>
                  <a:pt x="15" y="1191"/>
                  <a:pt x="3" y="1016"/>
                </a:cubicBezTo>
                <a:cubicBezTo>
                  <a:pt x="2" y="1002"/>
                  <a:pt x="3" y="987"/>
                  <a:pt x="0" y="97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spTree>
    <p:extLst>
      <p:ext uri="{BB962C8B-B14F-4D97-AF65-F5344CB8AC3E}">
        <p14:creationId xmlns:p14="http://schemas.microsoft.com/office/powerpoint/2010/main" val="23929564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Opener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788487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0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Freeform 5"/>
          <p:cNvSpPr>
            <a:spLocks/>
          </p:cNvSpPr>
          <p:nvPr userDrawn="1"/>
        </p:nvSpPr>
        <p:spPr bwMode="auto">
          <a:xfrm>
            <a:off x="4922327" y="838199"/>
            <a:ext cx="7287274" cy="6019801"/>
          </a:xfrm>
          <a:custGeom>
            <a:avLst/>
            <a:gdLst>
              <a:gd name="T0" fmla="*/ 0 w 2297"/>
              <a:gd name="T1" fmla="*/ 973 h 1897"/>
              <a:gd name="T2" fmla="*/ 0 w 2297"/>
              <a:gd name="T3" fmla="*/ 950 h 1897"/>
              <a:gd name="T4" fmla="*/ 55 w 2297"/>
              <a:gd name="T5" fmla="*/ 928 h 1897"/>
              <a:gd name="T6" fmla="*/ 275 w 2297"/>
              <a:gd name="T7" fmla="*/ 795 h 1897"/>
              <a:gd name="T8" fmla="*/ 597 w 2297"/>
              <a:gd name="T9" fmla="*/ 546 h 1897"/>
              <a:gd name="T10" fmla="*/ 998 w 2297"/>
              <a:gd name="T11" fmla="*/ 250 h 1897"/>
              <a:gd name="T12" fmla="*/ 1311 w 2297"/>
              <a:gd name="T13" fmla="*/ 85 h 1897"/>
              <a:gd name="T14" fmla="*/ 1607 w 2297"/>
              <a:gd name="T15" fmla="*/ 6 h 1897"/>
              <a:gd name="T16" fmla="*/ 1667 w 2297"/>
              <a:gd name="T17" fmla="*/ 0 h 1897"/>
              <a:gd name="T18" fmla="*/ 1772 w 2297"/>
              <a:gd name="T19" fmla="*/ 0 h 1897"/>
              <a:gd name="T20" fmla="*/ 1851 w 2297"/>
              <a:gd name="T21" fmla="*/ 9 h 1897"/>
              <a:gd name="T22" fmla="*/ 2297 w 2297"/>
              <a:gd name="T23" fmla="*/ 211 h 1897"/>
              <a:gd name="T24" fmla="*/ 2297 w 2297"/>
              <a:gd name="T25" fmla="*/ 1394 h 1897"/>
              <a:gd name="T26" fmla="*/ 2105 w 2297"/>
              <a:gd name="T27" fmla="*/ 1520 h 1897"/>
              <a:gd name="T28" fmla="*/ 1803 w 2297"/>
              <a:gd name="T29" fmla="*/ 1632 h 1897"/>
              <a:gd name="T30" fmla="*/ 1424 w 2297"/>
              <a:gd name="T31" fmla="*/ 1719 h 1897"/>
              <a:gd name="T32" fmla="*/ 1119 w 2297"/>
              <a:gd name="T33" fmla="*/ 1799 h 1897"/>
              <a:gd name="T34" fmla="*/ 939 w 2297"/>
              <a:gd name="T35" fmla="*/ 1886 h 1897"/>
              <a:gd name="T36" fmla="*/ 910 w 2297"/>
              <a:gd name="T37" fmla="*/ 1897 h 1897"/>
              <a:gd name="T38" fmla="*/ 228 w 2297"/>
              <a:gd name="T39" fmla="*/ 1897 h 1897"/>
              <a:gd name="T40" fmla="*/ 206 w 2297"/>
              <a:gd name="T41" fmla="*/ 1883 h 1897"/>
              <a:gd name="T42" fmla="*/ 84 w 2297"/>
              <a:gd name="T43" fmla="*/ 1533 h 1897"/>
              <a:gd name="T44" fmla="*/ 3 w 2297"/>
              <a:gd name="T45" fmla="*/ 1016 h 1897"/>
              <a:gd name="T46" fmla="*/ 0 w 2297"/>
              <a:gd name="T47" fmla="*/ 973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97" h="1897">
                <a:moveTo>
                  <a:pt x="0" y="973"/>
                </a:moveTo>
                <a:cubicBezTo>
                  <a:pt x="0" y="965"/>
                  <a:pt x="0" y="958"/>
                  <a:pt x="0" y="950"/>
                </a:cubicBezTo>
                <a:cubicBezTo>
                  <a:pt x="19" y="945"/>
                  <a:pt x="37" y="936"/>
                  <a:pt x="55" y="928"/>
                </a:cubicBezTo>
                <a:cubicBezTo>
                  <a:pt x="133" y="892"/>
                  <a:pt x="205" y="845"/>
                  <a:pt x="275" y="795"/>
                </a:cubicBezTo>
                <a:cubicBezTo>
                  <a:pt x="386" y="717"/>
                  <a:pt x="490" y="630"/>
                  <a:pt x="597" y="546"/>
                </a:cubicBezTo>
                <a:cubicBezTo>
                  <a:pt x="727" y="443"/>
                  <a:pt x="858" y="341"/>
                  <a:pt x="998" y="250"/>
                </a:cubicBezTo>
                <a:cubicBezTo>
                  <a:pt x="1098" y="187"/>
                  <a:pt x="1201" y="129"/>
                  <a:pt x="1311" y="85"/>
                </a:cubicBezTo>
                <a:cubicBezTo>
                  <a:pt x="1406" y="46"/>
                  <a:pt x="1504" y="18"/>
                  <a:pt x="1607" y="6"/>
                </a:cubicBezTo>
                <a:cubicBezTo>
                  <a:pt x="1627" y="4"/>
                  <a:pt x="1647" y="2"/>
                  <a:pt x="1667" y="0"/>
                </a:cubicBezTo>
                <a:cubicBezTo>
                  <a:pt x="1702" y="0"/>
                  <a:pt x="1737" y="0"/>
                  <a:pt x="1772" y="0"/>
                </a:cubicBezTo>
                <a:cubicBezTo>
                  <a:pt x="1799" y="3"/>
                  <a:pt x="1825" y="5"/>
                  <a:pt x="1851" y="9"/>
                </a:cubicBezTo>
                <a:cubicBezTo>
                  <a:pt x="2018" y="35"/>
                  <a:pt x="2168" y="99"/>
                  <a:pt x="2297" y="211"/>
                </a:cubicBezTo>
                <a:cubicBezTo>
                  <a:pt x="2297" y="605"/>
                  <a:pt x="2297" y="999"/>
                  <a:pt x="2297" y="1394"/>
                </a:cubicBezTo>
                <a:cubicBezTo>
                  <a:pt x="2238" y="1444"/>
                  <a:pt x="2173" y="1485"/>
                  <a:pt x="2105" y="1520"/>
                </a:cubicBezTo>
                <a:cubicBezTo>
                  <a:pt x="2008" y="1569"/>
                  <a:pt x="1907" y="1604"/>
                  <a:pt x="1803" y="1632"/>
                </a:cubicBezTo>
                <a:cubicBezTo>
                  <a:pt x="1678" y="1667"/>
                  <a:pt x="1551" y="1691"/>
                  <a:pt x="1424" y="1719"/>
                </a:cubicBezTo>
                <a:cubicBezTo>
                  <a:pt x="1321" y="1741"/>
                  <a:pt x="1218" y="1764"/>
                  <a:pt x="1119" y="1799"/>
                </a:cubicBezTo>
                <a:cubicBezTo>
                  <a:pt x="1056" y="1821"/>
                  <a:pt x="995" y="1849"/>
                  <a:pt x="939" y="1886"/>
                </a:cubicBezTo>
                <a:cubicBezTo>
                  <a:pt x="930" y="1892"/>
                  <a:pt x="922" y="1897"/>
                  <a:pt x="910" y="1897"/>
                </a:cubicBezTo>
                <a:cubicBezTo>
                  <a:pt x="683" y="1897"/>
                  <a:pt x="455" y="1897"/>
                  <a:pt x="228" y="1897"/>
                </a:cubicBezTo>
                <a:cubicBezTo>
                  <a:pt x="216" y="1897"/>
                  <a:pt x="211" y="1893"/>
                  <a:pt x="206" y="1883"/>
                </a:cubicBezTo>
                <a:cubicBezTo>
                  <a:pt x="155" y="1770"/>
                  <a:pt x="115" y="1653"/>
                  <a:pt x="84" y="1533"/>
                </a:cubicBezTo>
                <a:cubicBezTo>
                  <a:pt x="40" y="1363"/>
                  <a:pt x="15" y="1191"/>
                  <a:pt x="3" y="1016"/>
                </a:cubicBezTo>
                <a:cubicBezTo>
                  <a:pt x="2" y="1002"/>
                  <a:pt x="3" y="987"/>
                  <a:pt x="0" y="97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spTree>
    <p:extLst>
      <p:ext uri="{BB962C8B-B14F-4D97-AF65-F5344CB8AC3E}">
        <p14:creationId xmlns:p14="http://schemas.microsoft.com/office/powerpoint/2010/main" val="21321083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1"/>
          <p:cNvSpPr>
            <a:spLocks/>
          </p:cNvSpPr>
          <p:nvPr userDrawn="1"/>
        </p:nvSpPr>
        <p:spPr bwMode="auto">
          <a:xfrm>
            <a:off x="-312712" y="0"/>
            <a:ext cx="8002302" cy="6857954"/>
          </a:xfrm>
          <a:custGeom>
            <a:avLst/>
            <a:gdLst>
              <a:gd name="connsiteX0" fmla="*/ 0 w 8002302"/>
              <a:gd name="connsiteY0" fmla="*/ 0 h 6857954"/>
              <a:gd name="connsiteX1" fmla="*/ 7775633 w 8002302"/>
              <a:gd name="connsiteY1" fmla="*/ 0 h 6857954"/>
              <a:gd name="connsiteX2" fmla="*/ 6625074 w 8002302"/>
              <a:gd name="connsiteY2" fmla="*/ 2643891 h 6857954"/>
              <a:gd name="connsiteX3" fmla="*/ 4083144 w 8002302"/>
              <a:gd name="connsiteY3" fmla="*/ 5598199 h 6857954"/>
              <a:gd name="connsiteX4" fmla="*/ 2647158 w 8002302"/>
              <a:gd name="connsiteY4" fmla="*/ 6727350 h 6857954"/>
              <a:gd name="connsiteX5" fmla="*/ 2451916 w 8002302"/>
              <a:gd name="connsiteY5" fmla="*/ 6857954 h 6857954"/>
              <a:gd name="connsiteX6" fmla="*/ 0 w 8002302"/>
              <a:gd name="connsiteY6" fmla="*/ 6857954 h 6857954"/>
              <a:gd name="connsiteX7" fmla="*/ 0 w 8002302"/>
              <a:gd name="connsiteY7" fmla="*/ 6714824 h 6857954"/>
              <a:gd name="connsiteX8" fmla="*/ 0 w 8002302"/>
              <a:gd name="connsiteY8" fmla="*/ 0 h 685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2302" h="6857954">
                <a:moveTo>
                  <a:pt x="0" y="0"/>
                </a:moveTo>
                <a:lnTo>
                  <a:pt x="7775633" y="0"/>
                </a:lnTo>
                <a:cubicBezTo>
                  <a:pt x="7775633" y="0"/>
                  <a:pt x="8760296" y="1744754"/>
                  <a:pt x="6625074" y="2643891"/>
                </a:cubicBezTo>
                <a:cubicBezTo>
                  <a:pt x="4495204" y="3548381"/>
                  <a:pt x="3178751" y="4040765"/>
                  <a:pt x="4083144" y="5598199"/>
                </a:cubicBezTo>
                <a:cubicBezTo>
                  <a:pt x="3548335" y="6067838"/>
                  <a:pt x="3070531" y="6437189"/>
                  <a:pt x="2647158" y="6727350"/>
                </a:cubicBezTo>
                <a:lnTo>
                  <a:pt x="2451916" y="6857954"/>
                </a:lnTo>
                <a:lnTo>
                  <a:pt x="0" y="6857954"/>
                </a:lnTo>
                <a:lnTo>
                  <a:pt x="0" y="6714824"/>
                </a:lnTo>
                <a:cubicBezTo>
                  <a:pt x="0" y="0"/>
                  <a:pt x="0" y="0"/>
                  <a:pt x="0"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r>
              <a:rPr lang="en-US"/>
              <a:t>Click icon to add picture</a:t>
            </a:r>
            <a:endParaRPr lang="pt-PT"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5807959"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407988" y="1124680"/>
            <a:ext cx="2375552" cy="230432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1" name="Picture Placeholder 10"/>
          <p:cNvSpPr>
            <a:spLocks noGrp="1"/>
          </p:cNvSpPr>
          <p:nvPr>
            <p:ph type="pic" sz="quarter" idx="25"/>
          </p:nvPr>
        </p:nvSpPr>
        <p:spPr>
          <a:xfrm>
            <a:off x="911280" y="1412875"/>
            <a:ext cx="1224170" cy="1655763"/>
          </a:xfrm>
          <a:solidFill>
            <a:schemeClr val="bg2"/>
          </a:solidFill>
        </p:spPr>
        <p:txBody>
          <a:bodyPr anchor="ctr"/>
          <a:lstStyle>
            <a:lvl1pPr algn="ctr">
              <a:defRPr/>
            </a:lvl1pPr>
          </a:lstStyle>
          <a:p>
            <a:r>
              <a:rPr lang="en-US"/>
              <a:t>Click icon to add picture</a:t>
            </a:r>
            <a:endParaRPr lang="de-DE"/>
          </a:p>
        </p:txBody>
      </p:sp>
      <p:sp>
        <p:nvSpPr>
          <p:cNvPr id="14" name="Date Placeholder 13"/>
          <p:cNvSpPr>
            <a:spLocks noGrp="1"/>
          </p:cNvSpPr>
          <p:nvPr>
            <p:ph type="dt" sz="half" idx="26"/>
          </p:nvPr>
        </p:nvSpPr>
        <p:spPr/>
        <p:txBody>
          <a:bodyPr/>
          <a:lstStyle/>
          <a:p>
            <a:pPr>
              <a:lnSpc>
                <a:spcPct val="85000"/>
              </a:lnSpc>
            </a:pPr>
            <a:r>
              <a:rPr lang="en-US"/>
              <a:t>Presentation Title | Author | Date</a:t>
            </a:r>
            <a:endParaRPr lang="en-US" dirty="0"/>
          </a:p>
        </p:txBody>
      </p:sp>
      <p:sp>
        <p:nvSpPr>
          <p:cNvPr id="15" name="Footer Placeholder 14"/>
          <p:cNvSpPr>
            <a:spLocks noGrp="1"/>
          </p:cNvSpPr>
          <p:nvPr>
            <p:ph type="ftr" sz="quarter" idx="27"/>
          </p:nvPr>
        </p:nvSpPr>
        <p:spPr/>
        <p:txBody>
          <a:bodyPr/>
          <a:lstStyle/>
          <a:p>
            <a:r>
              <a:rPr lang="en-US"/>
              <a:t>© 2017 Capgemini. All rights reserved.</a:t>
            </a:r>
            <a:endParaRPr lang="en-US" dirty="0"/>
          </a:p>
        </p:txBody>
      </p:sp>
      <p:sp>
        <p:nvSpPr>
          <p:cNvPr id="16" name="Slide Number Placeholder 15"/>
          <p:cNvSpPr>
            <a:spLocks noGrp="1"/>
          </p:cNvSpPr>
          <p:nvPr>
            <p:ph type="sldNum" sz="quarter" idx="28"/>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5833236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p:txBody>
          <a:bodyPr/>
          <a:lstStyle/>
          <a:p>
            <a:r>
              <a:rPr lang="en-US"/>
              <a:t>Click to edit Master title style</a:t>
            </a:r>
            <a:endParaRPr lang="de-DE"/>
          </a:p>
        </p:txBody>
      </p:sp>
      <p:sp>
        <p:nvSpPr>
          <p:cNvPr id="6" name="Date Placeholder 5"/>
          <p:cNvSpPr>
            <a:spLocks noGrp="1"/>
          </p:cNvSpPr>
          <p:nvPr>
            <p:ph type="dt" sz="half" idx="36"/>
          </p:nvPr>
        </p:nvSpPr>
        <p:spPr/>
        <p:txBody>
          <a:bodyPr/>
          <a:lstStyle/>
          <a:p>
            <a:pPr>
              <a:lnSpc>
                <a:spcPct val="85000"/>
              </a:lnSpc>
            </a:pPr>
            <a:r>
              <a:rPr lang="en-US"/>
              <a:t>Presentation Title | Author | Date</a:t>
            </a:r>
            <a:endParaRPr lang="en-US" dirty="0"/>
          </a:p>
        </p:txBody>
      </p:sp>
      <p:sp>
        <p:nvSpPr>
          <p:cNvPr id="7" name="Footer Placeholder 6"/>
          <p:cNvSpPr>
            <a:spLocks noGrp="1"/>
          </p:cNvSpPr>
          <p:nvPr>
            <p:ph type="ftr" sz="quarter" idx="37"/>
          </p:nvPr>
        </p:nvSpPr>
        <p:spPr/>
        <p:txBody>
          <a:bodyPr/>
          <a:lstStyle/>
          <a:p>
            <a:r>
              <a:rPr lang="en-US"/>
              <a:t>© 2017 Capgemini. All rights reserved.</a:t>
            </a:r>
            <a:endParaRPr lang="en-US" dirty="0"/>
          </a:p>
        </p:txBody>
      </p:sp>
      <p:sp>
        <p:nvSpPr>
          <p:cNvPr id="8" name="Slide Number Placeholder 7"/>
          <p:cNvSpPr>
            <a:spLocks noGrp="1"/>
          </p:cNvSpPr>
          <p:nvPr>
            <p:ph type="sldNum" sz="quarter" idx="38"/>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40959320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noChangeAspect="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noChangeAspect="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noChangeAspect="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noChangeAspect="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5" name="Date Placeholder 4"/>
          <p:cNvSpPr>
            <a:spLocks noGrp="1"/>
          </p:cNvSpPr>
          <p:nvPr>
            <p:ph type="dt" sz="half" idx="36"/>
          </p:nvPr>
        </p:nvSpPr>
        <p:spPr/>
        <p:txBody>
          <a:bodyPr/>
          <a:lstStyle/>
          <a:p>
            <a:pPr>
              <a:lnSpc>
                <a:spcPct val="85000"/>
              </a:lnSpc>
            </a:pPr>
            <a:r>
              <a:rPr lang="en-US"/>
              <a:t>Presentation Title | Author | Date</a:t>
            </a:r>
            <a:endParaRPr lang="en-US" dirty="0"/>
          </a:p>
        </p:txBody>
      </p:sp>
      <p:sp>
        <p:nvSpPr>
          <p:cNvPr id="6" name="Footer Placeholder 5"/>
          <p:cNvSpPr>
            <a:spLocks noGrp="1"/>
          </p:cNvSpPr>
          <p:nvPr>
            <p:ph type="ftr" sz="quarter" idx="37"/>
          </p:nvPr>
        </p:nvSpPr>
        <p:spPr/>
        <p:txBody>
          <a:bodyPr/>
          <a:lstStyle/>
          <a:p>
            <a:r>
              <a:rPr lang="en-US"/>
              <a:t>© 2017 Capgemini. All rights reserved.</a:t>
            </a:r>
            <a:endParaRPr lang="en-US" dirty="0"/>
          </a:p>
        </p:txBody>
      </p:sp>
      <p:sp>
        <p:nvSpPr>
          <p:cNvPr id="7" name="Slide Number Placeholder 6"/>
          <p:cNvSpPr>
            <a:spLocks noGrp="1"/>
          </p:cNvSpPr>
          <p:nvPr>
            <p:ph type="sldNum" sz="quarter" idx="38"/>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7973977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000" b="0">
                <a:solidFill>
                  <a:srgbClr val="12ABDB"/>
                </a:solidFill>
              </a:defRPr>
            </a:lvl1pPr>
            <a:lvl2pPr>
              <a:defRPr sz="1400"/>
            </a:lvl2pPr>
            <a:lvl3pPr>
              <a:defRPr sz="1200"/>
            </a:lvl3pPr>
            <a:lvl4pPr>
              <a:defRPr sz="1100"/>
            </a:lvl4pPr>
            <a:lvl5pPr>
              <a:defRPr sz="1100"/>
            </a:lvl5pPr>
          </a:lstStyle>
          <a:p>
            <a:pPr lvl="0"/>
            <a:r>
              <a:rPr lang="en-US"/>
              <a:t>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6638114" y="4221110"/>
            <a:ext cx="4883669" cy="412363"/>
          </a:xfrm>
          <a:prstGeom prst="rect">
            <a:avLst/>
          </a:prstGeom>
          <a:noFill/>
        </p:spPr>
        <p:txBody>
          <a:bodyPr anchor="ctr">
            <a:noAutofit/>
          </a:bodyPr>
          <a:lstStyle>
            <a:lvl1pPr algn="l">
              <a:lnSpc>
                <a:spcPts val="3000"/>
              </a:lnSpc>
              <a:defRPr sz="2000" b="0">
                <a:solidFill>
                  <a:srgbClr val="12ABDB"/>
                </a:solidFill>
              </a:defRPr>
            </a:lvl1pPr>
            <a:lvl2pPr>
              <a:defRPr sz="1400"/>
            </a:lvl2pPr>
            <a:lvl3pPr>
              <a:defRPr sz="1200"/>
            </a:lvl3pPr>
            <a:lvl4pPr>
              <a:defRPr sz="1100"/>
            </a:lvl4pPr>
            <a:lvl5pPr>
              <a:defRPr sz="1100"/>
            </a:lvl5pPr>
          </a:lstStyle>
          <a:p>
            <a:pPr lvl="0"/>
            <a:r>
              <a:rPr lang="en-US"/>
              <a:t>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Edit Master text styles</a:t>
            </a: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37"/>
          </p:nvPr>
        </p:nvSpPr>
        <p:spPr/>
        <p:txBody>
          <a:bodyPr/>
          <a:lstStyle>
            <a:lvl1pPr>
              <a:defRPr>
                <a:solidFill>
                  <a:schemeClr val="bg1"/>
                </a:solidFill>
              </a:defRPr>
            </a:lvl1pPr>
          </a:lstStyle>
          <a:p>
            <a:pPr>
              <a:lnSpc>
                <a:spcPct val="85000"/>
              </a:lnSpc>
            </a:pPr>
            <a:r>
              <a:rPr lang="en-US"/>
              <a:t>Presentation Title | Author | Date</a:t>
            </a:r>
            <a:endParaRPr lang="en-US" dirty="0"/>
          </a:p>
        </p:txBody>
      </p:sp>
      <p:sp>
        <p:nvSpPr>
          <p:cNvPr id="6" name="Footer Placeholder 5"/>
          <p:cNvSpPr>
            <a:spLocks noGrp="1"/>
          </p:cNvSpPr>
          <p:nvPr>
            <p:ph type="ftr" sz="quarter" idx="38"/>
          </p:nvPr>
        </p:nvSpPr>
        <p:spPr/>
        <p:txBody>
          <a:bodyPr/>
          <a:lstStyle/>
          <a:p>
            <a:r>
              <a:rPr lang="en-US"/>
              <a:t>© 2017 Capgemini. All rights reserved.</a:t>
            </a:r>
            <a:endParaRPr lang="en-US" dirty="0"/>
          </a:p>
        </p:txBody>
      </p:sp>
      <p:sp>
        <p:nvSpPr>
          <p:cNvPr id="7" name="Slide Number Placeholder 6"/>
          <p:cNvSpPr>
            <a:spLocks noGrp="1"/>
          </p:cNvSpPr>
          <p:nvPr>
            <p:ph type="sldNum" sz="quarter" idx="39"/>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7069842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314292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Freeform 5"/>
          <p:cNvSpPr>
            <a:spLocks/>
          </p:cNvSpPr>
          <p:nvPr userDrawn="1"/>
        </p:nvSpPr>
        <p:spPr bwMode="auto">
          <a:xfrm>
            <a:off x="1" y="1"/>
            <a:ext cx="6728158" cy="6238418"/>
          </a:xfrm>
          <a:custGeom>
            <a:avLst/>
            <a:gdLst>
              <a:gd name="T0" fmla="*/ 1 w 2122"/>
              <a:gd name="T1" fmla="*/ 0 h 1967"/>
              <a:gd name="T2" fmla="*/ 1662 w 2122"/>
              <a:gd name="T3" fmla="*/ 0 h 1967"/>
              <a:gd name="T4" fmla="*/ 1669 w 2122"/>
              <a:gd name="T5" fmla="*/ 9 h 1967"/>
              <a:gd name="T6" fmla="*/ 1815 w 2122"/>
              <a:gd name="T7" fmla="*/ 158 h 1967"/>
              <a:gd name="T8" fmla="*/ 2031 w 2122"/>
              <a:gd name="T9" fmla="*/ 451 h 1967"/>
              <a:gd name="T10" fmla="*/ 2116 w 2122"/>
              <a:gd name="T11" fmla="*/ 718 h 1967"/>
              <a:gd name="T12" fmla="*/ 2073 w 2122"/>
              <a:gd name="T13" fmla="*/ 955 h 1967"/>
              <a:gd name="T14" fmla="*/ 1898 w 2122"/>
              <a:gd name="T15" fmla="*/ 1179 h 1967"/>
              <a:gd name="T16" fmla="*/ 1659 w 2122"/>
              <a:gd name="T17" fmla="*/ 1351 h 1967"/>
              <a:gd name="T18" fmla="*/ 1314 w 2122"/>
              <a:gd name="T19" fmla="*/ 1534 h 1967"/>
              <a:gd name="T20" fmla="*/ 1001 w 2122"/>
              <a:gd name="T21" fmla="*/ 1698 h 1967"/>
              <a:gd name="T22" fmla="*/ 833 w 2122"/>
              <a:gd name="T23" fmla="*/ 1819 h 1967"/>
              <a:gd name="T24" fmla="*/ 761 w 2122"/>
              <a:gd name="T25" fmla="*/ 1934 h 1967"/>
              <a:gd name="T26" fmla="*/ 752 w 2122"/>
              <a:gd name="T27" fmla="*/ 1942 h 1967"/>
              <a:gd name="T28" fmla="*/ 582 w 2122"/>
              <a:gd name="T29" fmla="*/ 1963 h 1967"/>
              <a:gd name="T30" fmla="*/ 409 w 2122"/>
              <a:gd name="T31" fmla="*/ 1910 h 1967"/>
              <a:gd name="T32" fmla="*/ 243 w 2122"/>
              <a:gd name="T33" fmla="*/ 1757 h 1967"/>
              <a:gd name="T34" fmla="*/ 98 w 2122"/>
              <a:gd name="T35" fmla="*/ 1476 h 1967"/>
              <a:gd name="T36" fmla="*/ 13 w 2122"/>
              <a:gd name="T37" fmla="*/ 1161 h 1967"/>
              <a:gd name="T38" fmla="*/ 1 w 2122"/>
              <a:gd name="T39" fmla="*/ 1063 h 1967"/>
              <a:gd name="T40" fmla="*/ 1 w 2122"/>
              <a:gd name="T41" fmla="*/ 16 h 1967"/>
              <a:gd name="T42" fmla="*/ 1 w 2122"/>
              <a:gd name="T43"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22" h="1967">
                <a:moveTo>
                  <a:pt x="1" y="0"/>
                </a:moveTo>
                <a:cubicBezTo>
                  <a:pt x="555" y="0"/>
                  <a:pt x="1108" y="0"/>
                  <a:pt x="1662" y="0"/>
                </a:cubicBezTo>
                <a:cubicBezTo>
                  <a:pt x="1664" y="3"/>
                  <a:pt x="1666" y="6"/>
                  <a:pt x="1669" y="9"/>
                </a:cubicBezTo>
                <a:cubicBezTo>
                  <a:pt x="1718" y="59"/>
                  <a:pt x="1768" y="107"/>
                  <a:pt x="1815" y="158"/>
                </a:cubicBezTo>
                <a:cubicBezTo>
                  <a:pt x="1898" y="248"/>
                  <a:pt x="1973" y="344"/>
                  <a:pt x="2031" y="451"/>
                </a:cubicBezTo>
                <a:cubicBezTo>
                  <a:pt x="2076" y="535"/>
                  <a:pt x="2108" y="623"/>
                  <a:pt x="2116" y="718"/>
                </a:cubicBezTo>
                <a:cubicBezTo>
                  <a:pt x="2122" y="800"/>
                  <a:pt x="2108" y="880"/>
                  <a:pt x="2073" y="955"/>
                </a:cubicBezTo>
                <a:cubicBezTo>
                  <a:pt x="2032" y="1043"/>
                  <a:pt x="1970" y="1115"/>
                  <a:pt x="1898" y="1179"/>
                </a:cubicBezTo>
                <a:cubicBezTo>
                  <a:pt x="1825" y="1245"/>
                  <a:pt x="1743" y="1300"/>
                  <a:pt x="1659" y="1351"/>
                </a:cubicBezTo>
                <a:cubicBezTo>
                  <a:pt x="1547" y="1418"/>
                  <a:pt x="1431" y="1476"/>
                  <a:pt x="1314" y="1534"/>
                </a:cubicBezTo>
                <a:cubicBezTo>
                  <a:pt x="1209" y="1587"/>
                  <a:pt x="1102" y="1638"/>
                  <a:pt x="1001" y="1698"/>
                </a:cubicBezTo>
                <a:cubicBezTo>
                  <a:pt x="941" y="1733"/>
                  <a:pt x="883" y="1770"/>
                  <a:pt x="833" y="1819"/>
                </a:cubicBezTo>
                <a:cubicBezTo>
                  <a:pt x="800" y="1852"/>
                  <a:pt x="773" y="1888"/>
                  <a:pt x="761" y="1934"/>
                </a:cubicBezTo>
                <a:cubicBezTo>
                  <a:pt x="761" y="1937"/>
                  <a:pt x="755" y="1941"/>
                  <a:pt x="752" y="1942"/>
                </a:cubicBezTo>
                <a:cubicBezTo>
                  <a:pt x="696" y="1958"/>
                  <a:pt x="640" y="1967"/>
                  <a:pt x="582" y="1963"/>
                </a:cubicBezTo>
                <a:cubicBezTo>
                  <a:pt x="520" y="1958"/>
                  <a:pt x="463" y="1941"/>
                  <a:pt x="409" y="1910"/>
                </a:cubicBezTo>
                <a:cubicBezTo>
                  <a:pt x="342" y="1872"/>
                  <a:pt x="289" y="1818"/>
                  <a:pt x="243" y="1757"/>
                </a:cubicBezTo>
                <a:cubicBezTo>
                  <a:pt x="180" y="1671"/>
                  <a:pt x="134" y="1575"/>
                  <a:pt x="98" y="1476"/>
                </a:cubicBezTo>
                <a:cubicBezTo>
                  <a:pt x="60" y="1373"/>
                  <a:pt x="33" y="1268"/>
                  <a:pt x="13" y="1161"/>
                </a:cubicBezTo>
                <a:cubicBezTo>
                  <a:pt x="8" y="1128"/>
                  <a:pt x="1" y="1096"/>
                  <a:pt x="1" y="1063"/>
                </a:cubicBezTo>
                <a:cubicBezTo>
                  <a:pt x="0" y="714"/>
                  <a:pt x="1" y="365"/>
                  <a:pt x="1" y="16"/>
                </a:cubicBezTo>
                <a:cubicBezTo>
                  <a:pt x="1" y="11"/>
                  <a:pt x="1" y="6"/>
                  <a:pt x="1"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0" name="Date Placeholder 9"/>
          <p:cNvSpPr>
            <a:spLocks noGrp="1"/>
          </p:cNvSpPr>
          <p:nvPr>
            <p:ph type="dt" sz="half" idx="42"/>
          </p:nvPr>
        </p:nvSpPr>
        <p:spPr/>
        <p:txBody>
          <a:bodyPr/>
          <a:lstStyle/>
          <a:p>
            <a:pPr>
              <a:lnSpc>
                <a:spcPct val="85000"/>
              </a:lnSpc>
            </a:pPr>
            <a:r>
              <a:rPr lang="en-US"/>
              <a:t>Presentation Title | Author | Date</a:t>
            </a:r>
            <a:endParaRPr lang="en-US" dirty="0"/>
          </a:p>
        </p:txBody>
      </p:sp>
      <p:sp>
        <p:nvSpPr>
          <p:cNvPr id="12" name="Footer Placeholder 11"/>
          <p:cNvSpPr>
            <a:spLocks noGrp="1"/>
          </p:cNvSpPr>
          <p:nvPr>
            <p:ph type="ftr" sz="quarter" idx="43"/>
          </p:nvPr>
        </p:nvSpPr>
        <p:spPr/>
        <p:txBody>
          <a:bodyPr/>
          <a:lstStyle/>
          <a:p>
            <a:r>
              <a:rPr lang="en-US"/>
              <a:t>© 2017 Capgemini. All rights reserved.</a:t>
            </a:r>
            <a:endParaRPr lang="en-US" dirty="0"/>
          </a:p>
        </p:txBody>
      </p:sp>
      <p:sp>
        <p:nvSpPr>
          <p:cNvPr id="13" name="Slide Number Placeholder 12"/>
          <p:cNvSpPr>
            <a:spLocks noGrp="1"/>
          </p:cNvSpPr>
          <p:nvPr>
            <p:ph type="sldNum" sz="quarter" idx="44"/>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3">
    <p:bg>
      <p:bgPr>
        <a:solidFill>
          <a:schemeClr val="bg2"/>
        </a:solidFill>
        <a:effectLst/>
      </p:bgPr>
    </p:bg>
    <p:spTree>
      <p:nvGrpSpPr>
        <p:cNvPr id="1" name=""/>
        <p:cNvGrpSpPr/>
        <p:nvPr/>
      </p:nvGrpSpPr>
      <p:grpSpPr>
        <a:xfrm>
          <a:off x="0" y="0"/>
          <a:ext cx="0" cy="0"/>
          <a:chOff x="0" y="0"/>
          <a:chExt cx="0" cy="0"/>
        </a:xfrm>
      </p:grpSpPr>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407988" y="3261834"/>
            <a:ext cx="5399980" cy="1196340"/>
          </a:xfrm>
        </p:spPr>
        <p:txBody>
          <a:bodyPr lIns="0" tIns="0" rIns="0" bIns="0">
            <a:normAutofit/>
          </a:bodyPr>
          <a:lstStyle>
            <a:lvl1pPr>
              <a:lnSpc>
                <a:spcPts val="1800"/>
              </a:lnSpc>
              <a:defRPr lang="pt-PT" sz="1600" kern="1200" dirty="0">
                <a:solidFill>
                  <a:srgbClr val="0070AD"/>
                </a:solidFill>
                <a:latin typeface="+mn-lt"/>
                <a:ea typeface="+mn-ea"/>
                <a:cs typeface="+mn-cs"/>
              </a:defRPr>
            </a:lvl1pPr>
            <a:lvl2pPr>
              <a:defRPr sz="1600">
                <a:solidFill>
                  <a:schemeClr val="bg1"/>
                </a:solidFill>
              </a:defRPr>
            </a:lvl2pPr>
          </a:lstStyle>
          <a:p>
            <a:pPr marL="0" marR="0" lvl="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pPr>
            <a:r>
              <a:rPr lang="en-US" dirty="0"/>
              <a:t>Click to insert presenter, location, and date</a:t>
            </a:r>
            <a:endParaRPr lang="pt-PT" dirty="0"/>
          </a:p>
        </p:txBody>
      </p:sp>
      <p:sp>
        <p:nvSpPr>
          <p:cNvPr id="4" name="Freeform 11"/>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4581398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Freeform 5"/>
          <p:cNvSpPr>
            <a:spLocks/>
          </p:cNvSpPr>
          <p:nvPr userDrawn="1"/>
        </p:nvSpPr>
        <p:spPr bwMode="auto">
          <a:xfrm>
            <a:off x="10543422" y="1"/>
            <a:ext cx="1648578" cy="5085230"/>
          </a:xfrm>
          <a:custGeom>
            <a:avLst/>
            <a:gdLst>
              <a:gd name="T0" fmla="*/ 91 w 548"/>
              <a:gd name="T1" fmla="*/ 0 h 1694"/>
              <a:gd name="T2" fmla="*/ 548 w 548"/>
              <a:gd name="T3" fmla="*/ 0 h 1694"/>
              <a:gd name="T4" fmla="*/ 548 w 548"/>
              <a:gd name="T5" fmla="*/ 1694 h 1694"/>
              <a:gd name="T6" fmla="*/ 489 w 548"/>
              <a:gd name="T7" fmla="*/ 1661 h 1694"/>
              <a:gd name="T8" fmla="*/ 233 w 548"/>
              <a:gd name="T9" fmla="*/ 1367 h 1694"/>
              <a:gd name="T10" fmla="*/ 129 w 548"/>
              <a:gd name="T11" fmla="*/ 1033 h 1694"/>
              <a:gd name="T12" fmla="*/ 83 w 548"/>
              <a:gd name="T13" fmla="*/ 629 h 1694"/>
              <a:gd name="T14" fmla="*/ 54 w 548"/>
              <a:gd name="T15" fmla="*/ 304 h 1694"/>
              <a:gd name="T16" fmla="*/ 2 w 548"/>
              <a:gd name="T17" fmla="*/ 84 h 1694"/>
              <a:gd name="T18" fmla="*/ 6 w 548"/>
              <a:gd name="T19" fmla="*/ 73 h 1694"/>
              <a:gd name="T20" fmla="*/ 83 w 548"/>
              <a:gd name="T21" fmla="*/ 8 h 1694"/>
              <a:gd name="T22" fmla="*/ 91 w 548"/>
              <a:gd name="T23" fmla="*/ 0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8" h="1694">
                <a:moveTo>
                  <a:pt x="91" y="0"/>
                </a:moveTo>
                <a:cubicBezTo>
                  <a:pt x="243" y="0"/>
                  <a:pt x="395" y="0"/>
                  <a:pt x="548" y="0"/>
                </a:cubicBezTo>
                <a:cubicBezTo>
                  <a:pt x="548" y="564"/>
                  <a:pt x="548" y="1129"/>
                  <a:pt x="548" y="1694"/>
                </a:cubicBezTo>
                <a:cubicBezTo>
                  <a:pt x="528" y="1683"/>
                  <a:pt x="508" y="1673"/>
                  <a:pt x="489" y="1661"/>
                </a:cubicBezTo>
                <a:cubicBezTo>
                  <a:pt x="375" y="1588"/>
                  <a:pt x="292" y="1488"/>
                  <a:pt x="233" y="1367"/>
                </a:cubicBezTo>
                <a:cubicBezTo>
                  <a:pt x="181" y="1261"/>
                  <a:pt x="151" y="1149"/>
                  <a:pt x="129" y="1033"/>
                </a:cubicBezTo>
                <a:cubicBezTo>
                  <a:pt x="105" y="900"/>
                  <a:pt x="94" y="765"/>
                  <a:pt x="83" y="629"/>
                </a:cubicBezTo>
                <a:cubicBezTo>
                  <a:pt x="75" y="521"/>
                  <a:pt x="66" y="413"/>
                  <a:pt x="54" y="304"/>
                </a:cubicBezTo>
                <a:cubicBezTo>
                  <a:pt x="46" y="229"/>
                  <a:pt x="31" y="155"/>
                  <a:pt x="2" y="84"/>
                </a:cubicBezTo>
                <a:cubicBezTo>
                  <a:pt x="0" y="78"/>
                  <a:pt x="2" y="76"/>
                  <a:pt x="6" y="73"/>
                </a:cubicBezTo>
                <a:cubicBezTo>
                  <a:pt x="32" y="51"/>
                  <a:pt x="58" y="30"/>
                  <a:pt x="83" y="8"/>
                </a:cubicBezTo>
                <a:cubicBezTo>
                  <a:pt x="86" y="6"/>
                  <a:pt x="88" y="3"/>
                  <a:pt x="91"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11" name="Title 10"/>
          <p:cNvSpPr>
            <a:spLocks noGrp="1"/>
          </p:cNvSpPr>
          <p:nvPr>
            <p:ph type="title"/>
          </p:nvPr>
        </p:nvSpPr>
        <p:spPr/>
        <p:txBody>
          <a:bodyPr/>
          <a:lstStyle/>
          <a:p>
            <a:r>
              <a:rPr lang="en-US"/>
              <a:t>Click to edit Master title style</a:t>
            </a:r>
            <a:endParaRPr lang="de-DE"/>
          </a:p>
        </p:txBody>
      </p:sp>
      <p:sp>
        <p:nvSpPr>
          <p:cNvPr id="12" name="Date Placeholder 11"/>
          <p:cNvSpPr>
            <a:spLocks noGrp="1"/>
          </p:cNvSpPr>
          <p:nvPr>
            <p:ph type="dt" sz="half" idx="10"/>
          </p:nvPr>
        </p:nvSpPr>
        <p:spPr/>
        <p:txBody>
          <a:bodyPr/>
          <a:lstStyle/>
          <a:p>
            <a:pPr>
              <a:lnSpc>
                <a:spcPct val="85000"/>
              </a:lnSpc>
            </a:pPr>
            <a:r>
              <a:rPr lang="en-US"/>
              <a:t>Presentation Title | Author | Date</a:t>
            </a:r>
            <a:endParaRPr lang="en-US" dirty="0"/>
          </a:p>
        </p:txBody>
      </p:sp>
      <p:sp>
        <p:nvSpPr>
          <p:cNvPr id="13" name="Footer Placeholder 12"/>
          <p:cNvSpPr>
            <a:spLocks noGrp="1"/>
          </p:cNvSpPr>
          <p:nvPr>
            <p:ph type="ftr" sz="quarter" idx="11"/>
          </p:nvPr>
        </p:nvSpPr>
        <p:spPr/>
        <p:txBody>
          <a:bodyPr/>
          <a:lstStyle/>
          <a:p>
            <a:r>
              <a:rPr lang="en-US"/>
              <a:t>© 2017 Capgemini. All rights reserved.</a:t>
            </a:r>
            <a:endParaRPr lang="en-US" dirty="0"/>
          </a:p>
        </p:txBody>
      </p:sp>
      <p:sp>
        <p:nvSpPr>
          <p:cNvPr id="16" name="Slide Number Placeholder 15"/>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547793" y="188640"/>
            <a:ext cx="424356" cy="459624"/>
          </a:xfrm>
          <a:prstGeom prst="rect">
            <a:avLst/>
          </a:prstGeom>
        </p:spPr>
      </p:pic>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8" name="Date Placeholder 7"/>
          <p:cNvSpPr>
            <a:spLocks noGrp="1"/>
          </p:cNvSpPr>
          <p:nvPr>
            <p:ph type="dt" sz="half" idx="33"/>
          </p:nvPr>
        </p:nvSpPr>
        <p:spPr/>
        <p:txBody>
          <a:bodyPr/>
          <a:lstStyle/>
          <a:p>
            <a:pPr>
              <a:lnSpc>
                <a:spcPct val="85000"/>
              </a:lnSpc>
            </a:pPr>
            <a:r>
              <a:rPr lang="en-US"/>
              <a:t>Presentation Title | Author | Date</a:t>
            </a:r>
            <a:endParaRPr lang="en-US" dirty="0"/>
          </a:p>
        </p:txBody>
      </p:sp>
      <p:sp>
        <p:nvSpPr>
          <p:cNvPr id="9" name="Footer Placeholder 8"/>
          <p:cNvSpPr>
            <a:spLocks noGrp="1"/>
          </p:cNvSpPr>
          <p:nvPr>
            <p:ph type="ftr" sz="quarter" idx="34"/>
          </p:nvPr>
        </p:nvSpPr>
        <p:spPr/>
        <p:txBody>
          <a:bodyPr/>
          <a:lstStyle>
            <a:lvl1pPr>
              <a:defRPr>
                <a:solidFill>
                  <a:schemeClr val="bg1"/>
                </a:solidFill>
              </a:defRPr>
            </a:lvl1pPr>
          </a:lstStyle>
          <a:p>
            <a:r>
              <a:rPr lang="en-US"/>
              <a:t>© 2017 Capgemini. All rights reserved.</a:t>
            </a:r>
            <a:endParaRPr lang="en-US" dirty="0"/>
          </a:p>
        </p:txBody>
      </p:sp>
      <p:sp>
        <p:nvSpPr>
          <p:cNvPr id="10" name="Slide Number Placeholder 9"/>
          <p:cNvSpPr>
            <a:spLocks noGrp="1"/>
          </p:cNvSpPr>
          <p:nvPr>
            <p:ph type="sldNum" sz="quarter" idx="35"/>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4490796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18511442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Freeform 5"/>
          <p:cNvSpPr>
            <a:spLocks/>
          </p:cNvSpPr>
          <p:nvPr userDrawn="1"/>
        </p:nvSpPr>
        <p:spPr bwMode="auto">
          <a:xfrm>
            <a:off x="0" y="0"/>
            <a:ext cx="5452303" cy="6384585"/>
          </a:xfrm>
          <a:custGeom>
            <a:avLst/>
            <a:gdLst>
              <a:gd name="T0" fmla="*/ 0 w 1745"/>
              <a:gd name="T1" fmla="*/ 1807 h 2044"/>
              <a:gd name="T2" fmla="*/ 0 w 1745"/>
              <a:gd name="T3" fmla="*/ 0 h 2044"/>
              <a:gd name="T4" fmla="*/ 1742 w 1745"/>
              <a:gd name="T5" fmla="*/ 0 h 2044"/>
              <a:gd name="T6" fmla="*/ 1742 w 1745"/>
              <a:gd name="T7" fmla="*/ 10 h 2044"/>
              <a:gd name="T8" fmla="*/ 1735 w 1745"/>
              <a:gd name="T9" fmla="*/ 160 h 2044"/>
              <a:gd name="T10" fmla="*/ 1654 w 1745"/>
              <a:gd name="T11" fmla="*/ 439 h 2044"/>
              <a:gd name="T12" fmla="*/ 1452 w 1745"/>
              <a:gd name="T13" fmla="*/ 821 h 2044"/>
              <a:gd name="T14" fmla="*/ 1197 w 1745"/>
              <a:gd name="T15" fmla="*/ 1214 h 2044"/>
              <a:gd name="T16" fmla="*/ 1019 w 1745"/>
              <a:gd name="T17" fmla="*/ 1509 h 2044"/>
              <a:gd name="T18" fmla="*/ 946 w 1745"/>
              <a:gd name="T19" fmla="*/ 1692 h 2044"/>
              <a:gd name="T20" fmla="*/ 945 w 1745"/>
              <a:gd name="T21" fmla="*/ 1848 h 2044"/>
              <a:gd name="T22" fmla="*/ 941 w 1745"/>
              <a:gd name="T23" fmla="*/ 1857 h 2044"/>
              <a:gd name="T24" fmla="*/ 873 w 1745"/>
              <a:gd name="T25" fmla="*/ 1920 h 2044"/>
              <a:gd name="T26" fmla="*/ 522 w 1745"/>
              <a:gd name="T27" fmla="*/ 2037 h 2044"/>
              <a:gd name="T28" fmla="*/ 267 w 1745"/>
              <a:gd name="T29" fmla="*/ 1971 h 2044"/>
              <a:gd name="T30" fmla="*/ 12 w 1745"/>
              <a:gd name="T31" fmla="*/ 1814 h 2044"/>
              <a:gd name="T32" fmla="*/ 0 w 1745"/>
              <a:gd name="T33" fmla="*/ 1807 h 2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45" h="2044">
                <a:moveTo>
                  <a:pt x="0" y="1807"/>
                </a:moveTo>
                <a:cubicBezTo>
                  <a:pt x="0" y="1205"/>
                  <a:pt x="0" y="602"/>
                  <a:pt x="0" y="0"/>
                </a:cubicBezTo>
                <a:cubicBezTo>
                  <a:pt x="580" y="0"/>
                  <a:pt x="1161" y="0"/>
                  <a:pt x="1742" y="0"/>
                </a:cubicBezTo>
                <a:cubicBezTo>
                  <a:pt x="1742" y="3"/>
                  <a:pt x="1741" y="7"/>
                  <a:pt x="1742" y="10"/>
                </a:cubicBezTo>
                <a:cubicBezTo>
                  <a:pt x="1745" y="60"/>
                  <a:pt x="1742" y="110"/>
                  <a:pt x="1735" y="160"/>
                </a:cubicBezTo>
                <a:cubicBezTo>
                  <a:pt x="1721" y="257"/>
                  <a:pt x="1691" y="349"/>
                  <a:pt x="1654" y="439"/>
                </a:cubicBezTo>
                <a:cubicBezTo>
                  <a:pt x="1599" y="573"/>
                  <a:pt x="1529" y="699"/>
                  <a:pt x="1452" y="821"/>
                </a:cubicBezTo>
                <a:cubicBezTo>
                  <a:pt x="1369" y="953"/>
                  <a:pt x="1282" y="1083"/>
                  <a:pt x="1197" y="1214"/>
                </a:cubicBezTo>
                <a:cubicBezTo>
                  <a:pt x="1134" y="1311"/>
                  <a:pt x="1072" y="1407"/>
                  <a:pt x="1019" y="1509"/>
                </a:cubicBezTo>
                <a:cubicBezTo>
                  <a:pt x="989" y="1568"/>
                  <a:pt x="962" y="1628"/>
                  <a:pt x="946" y="1692"/>
                </a:cubicBezTo>
                <a:cubicBezTo>
                  <a:pt x="933" y="1744"/>
                  <a:pt x="929" y="1796"/>
                  <a:pt x="945" y="1848"/>
                </a:cubicBezTo>
                <a:cubicBezTo>
                  <a:pt x="945" y="1850"/>
                  <a:pt x="943" y="1855"/>
                  <a:pt x="941" y="1857"/>
                </a:cubicBezTo>
                <a:cubicBezTo>
                  <a:pt x="919" y="1878"/>
                  <a:pt x="897" y="1901"/>
                  <a:pt x="873" y="1920"/>
                </a:cubicBezTo>
                <a:cubicBezTo>
                  <a:pt x="771" y="2003"/>
                  <a:pt x="654" y="2044"/>
                  <a:pt x="522" y="2037"/>
                </a:cubicBezTo>
                <a:cubicBezTo>
                  <a:pt x="432" y="2032"/>
                  <a:pt x="348" y="2007"/>
                  <a:pt x="267" y="1971"/>
                </a:cubicBezTo>
                <a:cubicBezTo>
                  <a:pt x="175" y="1929"/>
                  <a:pt x="92" y="1875"/>
                  <a:pt x="12" y="1814"/>
                </a:cubicBezTo>
                <a:cubicBezTo>
                  <a:pt x="8" y="1811"/>
                  <a:pt x="4" y="1809"/>
                  <a:pt x="0" y="180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15" name="Picture Placeholder 14">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1999" cy="6857998"/>
          </a:xfrm>
          <a:custGeom>
            <a:avLst/>
            <a:gdLst>
              <a:gd name="connsiteX0" fmla="*/ 0 w 12191999"/>
              <a:gd name="connsiteY0" fmla="*/ 0 h 6857998"/>
              <a:gd name="connsiteX1" fmla="*/ 12191999 w 12191999"/>
              <a:gd name="connsiteY1" fmla="*/ 0 h 6857998"/>
              <a:gd name="connsiteX2" fmla="*/ 12191999 w 12191999"/>
              <a:gd name="connsiteY2" fmla="*/ 6857998 h 6857998"/>
              <a:gd name="connsiteX3" fmla="*/ 0 w 12191999"/>
              <a:gd name="connsiteY3" fmla="*/ 6857998 h 6857998"/>
              <a:gd name="connsiteX4" fmla="*/ 0 w 12191999"/>
              <a:gd name="connsiteY4" fmla="*/ 5644299 h 6857998"/>
              <a:gd name="connsiteX5" fmla="*/ 37495 w 12191999"/>
              <a:gd name="connsiteY5" fmla="*/ 5666164 h 6857998"/>
              <a:gd name="connsiteX6" fmla="*/ 834250 w 12191999"/>
              <a:gd name="connsiteY6" fmla="*/ 6156565 h 6857998"/>
              <a:gd name="connsiteX7" fmla="*/ 1631004 w 12191999"/>
              <a:gd name="connsiteY7" fmla="*/ 6362721 h 6857998"/>
              <a:gd name="connsiteX8" fmla="*/ 2727714 w 12191999"/>
              <a:gd name="connsiteY8" fmla="*/ 5997263 h 6857998"/>
              <a:gd name="connsiteX9" fmla="*/ 2940182 w 12191999"/>
              <a:gd name="connsiteY9" fmla="*/ 5800478 h 6857998"/>
              <a:gd name="connsiteX10" fmla="*/ 2952680 w 12191999"/>
              <a:gd name="connsiteY10" fmla="*/ 5772366 h 6857998"/>
              <a:gd name="connsiteX11" fmla="*/ 2955805 w 12191999"/>
              <a:gd name="connsiteY11" fmla="*/ 5285088 h 6857998"/>
              <a:gd name="connsiteX12" fmla="*/ 3183895 w 12191999"/>
              <a:gd name="connsiteY12" fmla="*/ 4713474 h 6857998"/>
              <a:gd name="connsiteX13" fmla="*/ 3740061 w 12191999"/>
              <a:gd name="connsiteY13" fmla="*/ 3792020 h 6857998"/>
              <a:gd name="connsiteX14" fmla="*/ 4536816 w 12191999"/>
              <a:gd name="connsiteY14" fmla="*/ 2564455 h 6857998"/>
              <a:gd name="connsiteX15" fmla="*/ 5167971 w 12191999"/>
              <a:gd name="connsiteY15" fmla="*/ 1371250 h 6857998"/>
              <a:gd name="connsiteX16" fmla="*/ 5421058 w 12191999"/>
              <a:gd name="connsiteY16" fmla="*/ 499773 h 6857998"/>
              <a:gd name="connsiteX17" fmla="*/ 5442930 w 12191999"/>
              <a:gd name="connsiteY17" fmla="*/ 31237 h 6857998"/>
              <a:gd name="connsiteX18" fmla="*/ 5442930 w 12191999"/>
              <a:gd name="connsiteY18" fmla="*/ 1 h 6857998"/>
              <a:gd name="connsiteX19" fmla="*/ 0 w 12191999"/>
              <a:gd name="connsiteY19" fmla="*/ 1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1999" h="6857998">
                <a:moveTo>
                  <a:pt x="0" y="0"/>
                </a:moveTo>
                <a:lnTo>
                  <a:pt x="12191999" y="0"/>
                </a:lnTo>
                <a:lnTo>
                  <a:pt x="12191999" y="6857998"/>
                </a:lnTo>
                <a:lnTo>
                  <a:pt x="0" y="6857998"/>
                </a:lnTo>
                <a:lnTo>
                  <a:pt x="0" y="5644299"/>
                </a:lnTo>
                <a:cubicBezTo>
                  <a:pt x="12498" y="5650546"/>
                  <a:pt x="24996" y="5656794"/>
                  <a:pt x="37495" y="5666164"/>
                </a:cubicBezTo>
                <a:cubicBezTo>
                  <a:pt x="287457" y="5856702"/>
                  <a:pt x="546793" y="6025375"/>
                  <a:pt x="834250" y="6156565"/>
                </a:cubicBezTo>
                <a:cubicBezTo>
                  <a:pt x="1087336" y="6269014"/>
                  <a:pt x="1349797" y="6347103"/>
                  <a:pt x="1631004" y="6362721"/>
                </a:cubicBezTo>
                <a:cubicBezTo>
                  <a:pt x="2043442" y="6384586"/>
                  <a:pt x="2409012" y="6256520"/>
                  <a:pt x="2727714" y="5997263"/>
                </a:cubicBezTo>
                <a:cubicBezTo>
                  <a:pt x="2802703" y="5937915"/>
                  <a:pt x="2871442" y="5866073"/>
                  <a:pt x="2940182" y="5800478"/>
                </a:cubicBezTo>
                <a:cubicBezTo>
                  <a:pt x="2946431" y="5794231"/>
                  <a:pt x="2952680" y="5778613"/>
                  <a:pt x="2952680" y="5772366"/>
                </a:cubicBezTo>
                <a:cubicBezTo>
                  <a:pt x="2902688" y="5609940"/>
                  <a:pt x="2915186" y="5447514"/>
                  <a:pt x="2955805" y="5285088"/>
                </a:cubicBezTo>
                <a:cubicBezTo>
                  <a:pt x="3005797" y="5085180"/>
                  <a:pt x="3090159" y="4897765"/>
                  <a:pt x="3183895" y="4713474"/>
                </a:cubicBezTo>
                <a:cubicBezTo>
                  <a:pt x="3349495" y="4394870"/>
                  <a:pt x="3543216" y="4095006"/>
                  <a:pt x="3740061" y="3792020"/>
                </a:cubicBezTo>
                <a:cubicBezTo>
                  <a:pt x="4005646" y="3382832"/>
                  <a:pt x="4277480" y="2976767"/>
                  <a:pt x="4536816" y="2564455"/>
                </a:cubicBezTo>
                <a:cubicBezTo>
                  <a:pt x="4777405" y="2183379"/>
                  <a:pt x="4996122" y="1789809"/>
                  <a:pt x="5167971" y="1371250"/>
                </a:cubicBezTo>
                <a:cubicBezTo>
                  <a:pt x="5283579" y="1090128"/>
                  <a:pt x="5377315" y="802760"/>
                  <a:pt x="5421058" y="499773"/>
                </a:cubicBezTo>
                <a:cubicBezTo>
                  <a:pt x="5442930" y="343594"/>
                  <a:pt x="5452303" y="187416"/>
                  <a:pt x="5442930" y="31237"/>
                </a:cubicBezTo>
                <a:cubicBezTo>
                  <a:pt x="5439805" y="21866"/>
                  <a:pt x="5442930" y="9372"/>
                  <a:pt x="5442930" y="1"/>
                </a:cubicBezTo>
                <a:cubicBezTo>
                  <a:pt x="3627578" y="1"/>
                  <a:pt x="1812227" y="1"/>
                  <a:pt x="0" y="1"/>
                </a:cubicBezTo>
                <a:close/>
              </a:path>
            </a:pathLst>
          </a:custGeom>
          <a:noFill/>
        </p:spPr>
        <p:txBody>
          <a:bodyPr wrap="square" anchor="ctr">
            <a:noAutofit/>
          </a:bodyP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 name="Date Placeholder 1"/>
          <p:cNvSpPr>
            <a:spLocks noGrp="1"/>
          </p:cNvSpPr>
          <p:nvPr>
            <p:ph type="dt" sz="half" idx="33"/>
          </p:nvPr>
        </p:nvSpPr>
        <p:spPr/>
        <p:txBody>
          <a:bodyPr/>
          <a:lstStyle/>
          <a:p>
            <a:pPr>
              <a:lnSpc>
                <a:spcPct val="85000"/>
              </a:lnSpc>
            </a:pPr>
            <a:r>
              <a:rPr lang="en-US"/>
              <a:t>Presentation Title | Author | Date</a:t>
            </a:r>
            <a:endParaRPr lang="en-US" dirty="0"/>
          </a:p>
        </p:txBody>
      </p:sp>
      <p:sp>
        <p:nvSpPr>
          <p:cNvPr id="3" name="Footer Placeholder 2"/>
          <p:cNvSpPr>
            <a:spLocks noGrp="1"/>
          </p:cNvSpPr>
          <p:nvPr>
            <p:ph type="ftr" sz="quarter" idx="34"/>
          </p:nvPr>
        </p:nvSpPr>
        <p:spPr/>
        <p:txBody>
          <a:bodyPr/>
          <a:lstStyle/>
          <a:p>
            <a:r>
              <a:rPr lang="en-US"/>
              <a:t>© 2017 Capgemini. All rights reserved.</a:t>
            </a:r>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6020122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16674520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Freeform 5"/>
          <p:cNvSpPr>
            <a:spLocks/>
          </p:cNvSpPr>
          <p:nvPr userDrawn="1"/>
        </p:nvSpPr>
        <p:spPr bwMode="auto">
          <a:xfrm>
            <a:off x="0" y="0"/>
            <a:ext cx="9372600" cy="6858000"/>
          </a:xfrm>
          <a:custGeom>
            <a:avLst/>
            <a:gdLst>
              <a:gd name="T0" fmla="*/ 810 w 2953"/>
              <a:gd name="T1" fmla="*/ 2160 h 2160"/>
              <a:gd name="T2" fmla="*/ 0 w 2953"/>
              <a:gd name="T3" fmla="*/ 2160 h 2160"/>
              <a:gd name="T4" fmla="*/ 0 w 2953"/>
              <a:gd name="T5" fmla="*/ 0 h 2160"/>
              <a:gd name="T6" fmla="*/ 2953 w 2953"/>
              <a:gd name="T7" fmla="*/ 0 h 2160"/>
              <a:gd name="T8" fmla="*/ 2951 w 2953"/>
              <a:gd name="T9" fmla="*/ 9 h 2160"/>
              <a:gd name="T10" fmla="*/ 2912 w 2953"/>
              <a:gd name="T11" fmla="*/ 104 h 2160"/>
              <a:gd name="T12" fmla="*/ 2689 w 2953"/>
              <a:gd name="T13" fmla="*/ 359 h 2160"/>
              <a:gd name="T14" fmla="*/ 2421 w 2953"/>
              <a:gd name="T15" fmla="*/ 509 h 2160"/>
              <a:gd name="T16" fmla="*/ 1974 w 2953"/>
              <a:gd name="T17" fmla="*/ 701 h 2160"/>
              <a:gd name="T18" fmla="*/ 1632 w 2953"/>
              <a:gd name="T19" fmla="*/ 876 h 2160"/>
              <a:gd name="T20" fmla="*/ 1411 w 2953"/>
              <a:gd name="T21" fmla="*/ 1047 h 2160"/>
              <a:gd name="T22" fmla="*/ 1306 w 2953"/>
              <a:gd name="T23" fmla="*/ 1219 h 2160"/>
              <a:gd name="T24" fmla="*/ 1303 w 2953"/>
              <a:gd name="T25" fmla="*/ 1459 h 2160"/>
              <a:gd name="T26" fmla="*/ 1396 w 2953"/>
              <a:gd name="T27" fmla="*/ 1682 h 2160"/>
              <a:gd name="T28" fmla="*/ 1403 w 2953"/>
              <a:gd name="T29" fmla="*/ 1695 h 2160"/>
              <a:gd name="T30" fmla="*/ 1398 w 2953"/>
              <a:gd name="T31" fmla="*/ 1700 h 2160"/>
              <a:gd name="T32" fmla="*/ 882 w 2953"/>
              <a:gd name="T33" fmla="*/ 2110 h 2160"/>
              <a:gd name="T34" fmla="*/ 810 w 2953"/>
              <a:gd name="T35" fmla="*/ 216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53" h="2160">
                <a:moveTo>
                  <a:pt x="810" y="2160"/>
                </a:moveTo>
                <a:cubicBezTo>
                  <a:pt x="540" y="2160"/>
                  <a:pt x="270" y="2160"/>
                  <a:pt x="0" y="2160"/>
                </a:cubicBezTo>
                <a:cubicBezTo>
                  <a:pt x="0" y="1440"/>
                  <a:pt x="0" y="720"/>
                  <a:pt x="0" y="0"/>
                </a:cubicBezTo>
                <a:cubicBezTo>
                  <a:pt x="984" y="0"/>
                  <a:pt x="1969" y="0"/>
                  <a:pt x="2953" y="0"/>
                </a:cubicBezTo>
                <a:cubicBezTo>
                  <a:pt x="2952" y="3"/>
                  <a:pt x="2952" y="6"/>
                  <a:pt x="2951" y="9"/>
                </a:cubicBezTo>
                <a:cubicBezTo>
                  <a:pt x="2938" y="41"/>
                  <a:pt x="2927" y="73"/>
                  <a:pt x="2912" y="104"/>
                </a:cubicBezTo>
                <a:cubicBezTo>
                  <a:pt x="2859" y="208"/>
                  <a:pt x="2782" y="290"/>
                  <a:pt x="2689" y="359"/>
                </a:cubicBezTo>
                <a:cubicBezTo>
                  <a:pt x="2607" y="421"/>
                  <a:pt x="2516" y="468"/>
                  <a:pt x="2421" y="509"/>
                </a:cubicBezTo>
                <a:cubicBezTo>
                  <a:pt x="2272" y="572"/>
                  <a:pt x="2123" y="636"/>
                  <a:pt x="1974" y="701"/>
                </a:cubicBezTo>
                <a:cubicBezTo>
                  <a:pt x="1857" y="753"/>
                  <a:pt x="1742" y="809"/>
                  <a:pt x="1632" y="876"/>
                </a:cubicBezTo>
                <a:cubicBezTo>
                  <a:pt x="1551" y="924"/>
                  <a:pt x="1475" y="978"/>
                  <a:pt x="1411" y="1047"/>
                </a:cubicBezTo>
                <a:cubicBezTo>
                  <a:pt x="1364" y="1097"/>
                  <a:pt x="1327" y="1153"/>
                  <a:pt x="1306" y="1219"/>
                </a:cubicBezTo>
                <a:cubicBezTo>
                  <a:pt x="1280" y="1299"/>
                  <a:pt x="1283" y="1379"/>
                  <a:pt x="1303" y="1459"/>
                </a:cubicBezTo>
                <a:cubicBezTo>
                  <a:pt x="1323" y="1538"/>
                  <a:pt x="1357" y="1612"/>
                  <a:pt x="1396" y="1682"/>
                </a:cubicBezTo>
                <a:cubicBezTo>
                  <a:pt x="1399" y="1687"/>
                  <a:pt x="1401" y="1691"/>
                  <a:pt x="1403" y="1695"/>
                </a:cubicBezTo>
                <a:cubicBezTo>
                  <a:pt x="1401" y="1697"/>
                  <a:pt x="1399" y="1698"/>
                  <a:pt x="1398" y="1700"/>
                </a:cubicBezTo>
                <a:cubicBezTo>
                  <a:pt x="1232" y="1845"/>
                  <a:pt x="1061" y="1983"/>
                  <a:pt x="882" y="2110"/>
                </a:cubicBezTo>
                <a:cubicBezTo>
                  <a:pt x="858" y="2127"/>
                  <a:pt x="834" y="2143"/>
                  <a:pt x="810" y="21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16" name="Picture Placeholder 15">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custGeom>
            <a:avLst/>
            <a:gdLst>
              <a:gd name="connsiteX0" fmla="*/ 0 w 12192000"/>
              <a:gd name="connsiteY0" fmla="*/ 0 h 6857998"/>
              <a:gd name="connsiteX1" fmla="*/ 12192000 w 12192000"/>
              <a:gd name="connsiteY1" fmla="*/ 0 h 6857998"/>
              <a:gd name="connsiteX2" fmla="*/ 12192000 w 12192000"/>
              <a:gd name="connsiteY2" fmla="*/ 6857998 h 6857998"/>
              <a:gd name="connsiteX3" fmla="*/ 2570884 w 12192000"/>
              <a:gd name="connsiteY3" fmla="*/ 6857998 h 6857998"/>
              <a:gd name="connsiteX4" fmla="*/ 2799402 w 12192000"/>
              <a:gd name="connsiteY4" fmla="*/ 6699251 h 6857998"/>
              <a:gd name="connsiteX5" fmla="*/ 4437147 w 12192000"/>
              <a:gd name="connsiteY5" fmla="*/ 5397501 h 6857998"/>
              <a:gd name="connsiteX6" fmla="*/ 4453017 w 12192000"/>
              <a:gd name="connsiteY6" fmla="*/ 5381626 h 6857998"/>
              <a:gd name="connsiteX7" fmla="*/ 4430799 w 12192000"/>
              <a:gd name="connsiteY7" fmla="*/ 5340351 h 6857998"/>
              <a:gd name="connsiteX8" fmla="*/ 4135624 w 12192000"/>
              <a:gd name="connsiteY8" fmla="*/ 4632326 h 6857998"/>
              <a:gd name="connsiteX9" fmla="*/ 4145146 w 12192000"/>
              <a:gd name="connsiteY9" fmla="*/ 3870326 h 6857998"/>
              <a:gd name="connsiteX10" fmla="*/ 4478408 w 12192000"/>
              <a:gd name="connsiteY10" fmla="*/ 3324226 h 6857998"/>
              <a:gd name="connsiteX11" fmla="*/ 5179846 w 12192000"/>
              <a:gd name="connsiteY11" fmla="*/ 2781301 h 6857998"/>
              <a:gd name="connsiteX12" fmla="*/ 6265328 w 12192000"/>
              <a:gd name="connsiteY12" fmla="*/ 2225676 h 6857998"/>
              <a:gd name="connsiteX13" fmla="*/ 7684072 w 12192000"/>
              <a:gd name="connsiteY13" fmla="*/ 1616076 h 6857998"/>
              <a:gd name="connsiteX14" fmla="*/ 8534684 w 12192000"/>
              <a:gd name="connsiteY14" fmla="*/ 1139826 h 6857998"/>
              <a:gd name="connsiteX15" fmla="*/ 9242469 w 12192000"/>
              <a:gd name="connsiteY15" fmla="*/ 330201 h 6857998"/>
              <a:gd name="connsiteX16" fmla="*/ 9366252 w 12192000"/>
              <a:gd name="connsiteY16" fmla="*/ 28576 h 6857998"/>
              <a:gd name="connsiteX17" fmla="*/ 9372600 w 12192000"/>
              <a:gd name="connsiteY17" fmla="*/ 1 h 6857998"/>
              <a:gd name="connsiteX18" fmla="*/ 0 w 12192000"/>
              <a:gd name="connsiteY18" fmla="*/ 1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2000" h="6857998">
                <a:moveTo>
                  <a:pt x="0" y="0"/>
                </a:moveTo>
                <a:lnTo>
                  <a:pt x="12192000" y="0"/>
                </a:lnTo>
                <a:lnTo>
                  <a:pt x="12192000" y="6857998"/>
                </a:lnTo>
                <a:lnTo>
                  <a:pt x="2570884" y="6857998"/>
                </a:lnTo>
                <a:lnTo>
                  <a:pt x="2799402" y="6699251"/>
                </a:lnTo>
                <a:cubicBezTo>
                  <a:pt x="3367535" y="6296026"/>
                  <a:pt x="3910276" y="5857876"/>
                  <a:pt x="4437147" y="5397501"/>
                </a:cubicBezTo>
                <a:cubicBezTo>
                  <a:pt x="4440322" y="5391151"/>
                  <a:pt x="4446669" y="5387976"/>
                  <a:pt x="4453017" y="5381626"/>
                </a:cubicBezTo>
                <a:cubicBezTo>
                  <a:pt x="4446669" y="5368926"/>
                  <a:pt x="4440322" y="5356226"/>
                  <a:pt x="4430799" y="5340351"/>
                </a:cubicBezTo>
                <a:cubicBezTo>
                  <a:pt x="4307016" y="5118101"/>
                  <a:pt x="4199103" y="4883151"/>
                  <a:pt x="4135624" y="4632326"/>
                </a:cubicBezTo>
                <a:cubicBezTo>
                  <a:pt x="4072146" y="4378326"/>
                  <a:pt x="4062624" y="4124326"/>
                  <a:pt x="4145146" y="3870326"/>
                </a:cubicBezTo>
                <a:cubicBezTo>
                  <a:pt x="4211798" y="3660776"/>
                  <a:pt x="4329234" y="3482976"/>
                  <a:pt x="4478408" y="3324226"/>
                </a:cubicBezTo>
                <a:cubicBezTo>
                  <a:pt x="4681539" y="3105151"/>
                  <a:pt x="4922758" y="2933701"/>
                  <a:pt x="5179846" y="2781301"/>
                </a:cubicBezTo>
                <a:cubicBezTo>
                  <a:pt x="5528977" y="2568576"/>
                  <a:pt x="5893979" y="2390776"/>
                  <a:pt x="6265328" y="2225676"/>
                </a:cubicBezTo>
                <a:cubicBezTo>
                  <a:pt x="6738243" y="2019301"/>
                  <a:pt x="7211157" y="1816101"/>
                  <a:pt x="7684072" y="1616076"/>
                </a:cubicBezTo>
                <a:cubicBezTo>
                  <a:pt x="7985595" y="1485901"/>
                  <a:pt x="8274422" y="1336676"/>
                  <a:pt x="8534684" y="1139826"/>
                </a:cubicBezTo>
                <a:cubicBezTo>
                  <a:pt x="8829859" y="920751"/>
                  <a:pt x="9074251" y="660401"/>
                  <a:pt x="9242469" y="330201"/>
                </a:cubicBezTo>
                <a:cubicBezTo>
                  <a:pt x="9290078" y="231776"/>
                  <a:pt x="9324991" y="130176"/>
                  <a:pt x="9366252" y="28576"/>
                </a:cubicBezTo>
                <a:cubicBezTo>
                  <a:pt x="9369426" y="19051"/>
                  <a:pt x="9369426" y="9526"/>
                  <a:pt x="9372600" y="1"/>
                </a:cubicBezTo>
                <a:cubicBezTo>
                  <a:pt x="6249458" y="1"/>
                  <a:pt x="3123142" y="1"/>
                  <a:pt x="0" y="1"/>
                </a:cubicBezTo>
                <a:close/>
              </a:path>
            </a:pathLst>
          </a:custGeom>
          <a:noFill/>
        </p:spPr>
        <p:txBody>
          <a:bodyPr wrap="square" anchor="ctr">
            <a:noAutofit/>
          </a:bodyP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 name="Date Placeholder 1"/>
          <p:cNvSpPr>
            <a:spLocks noGrp="1"/>
          </p:cNvSpPr>
          <p:nvPr>
            <p:ph type="dt" sz="half" idx="33"/>
          </p:nvPr>
        </p:nvSpPr>
        <p:spPr/>
        <p:txBody>
          <a:bodyPr/>
          <a:lstStyle>
            <a:lvl1pPr>
              <a:defRPr>
                <a:solidFill>
                  <a:schemeClr val="bg2">
                    <a:lumMod val="90000"/>
                  </a:schemeClr>
                </a:solidFill>
              </a:defRPr>
            </a:lvl1pPr>
          </a:lstStyle>
          <a:p>
            <a:pPr>
              <a:lnSpc>
                <a:spcPct val="85000"/>
              </a:lnSpc>
            </a:pPr>
            <a:r>
              <a:rPr lang="en-US"/>
              <a:t>Presentation Title | Author | Date</a:t>
            </a:r>
            <a:endParaRPr lang="en-US" dirty="0"/>
          </a:p>
        </p:txBody>
      </p:sp>
      <p:sp>
        <p:nvSpPr>
          <p:cNvPr id="3" name="Footer Placeholder 2"/>
          <p:cNvSpPr>
            <a:spLocks noGrp="1"/>
          </p:cNvSpPr>
          <p:nvPr>
            <p:ph type="ftr" sz="quarter" idx="34"/>
          </p:nvPr>
        </p:nvSpPr>
        <p:spPr/>
        <p:txBody>
          <a:bodyPr/>
          <a:lstStyle/>
          <a:p>
            <a:r>
              <a:rPr lang="en-US"/>
              <a:t>© 2017 Capgemini. All rights reserved.</a:t>
            </a:r>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17515161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 name="Date Placeholder 1"/>
          <p:cNvSpPr>
            <a:spLocks noGrp="1"/>
          </p:cNvSpPr>
          <p:nvPr>
            <p:ph type="dt" sz="half" idx="33"/>
          </p:nvPr>
        </p:nvSpPr>
        <p:spPr/>
        <p:txBody>
          <a:bodyPr/>
          <a:lstStyle/>
          <a:p>
            <a:pPr>
              <a:lnSpc>
                <a:spcPct val="85000"/>
              </a:lnSpc>
            </a:pPr>
            <a:r>
              <a:rPr lang="en-US"/>
              <a:t>Presentation Title | Author | Date</a:t>
            </a:r>
            <a:endParaRPr lang="en-US" dirty="0"/>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
        <p:nvSpPr>
          <p:cNvPr id="5" name="Footer Placeholder 4"/>
          <p:cNvSpPr>
            <a:spLocks noGrp="1"/>
          </p:cNvSpPr>
          <p:nvPr>
            <p:ph type="ftr" sz="quarter" idx="36"/>
          </p:nvPr>
        </p:nvSpPr>
        <p:spPr/>
        <p:txBody>
          <a:bodyPr/>
          <a:lstStyle/>
          <a:p>
            <a:r>
              <a:rPr lang="en-US"/>
              <a:t>© 2017 Capgemini. All rights reserved.</a:t>
            </a:r>
            <a:endParaRPr lang="en-US" dirty="0"/>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547793" y="188640"/>
            <a:ext cx="424356" cy="459624"/>
          </a:xfrm>
          <a:prstGeom prst="rect">
            <a:avLst/>
          </a:prstGeom>
        </p:spPr>
      </p:pic>
      <p:sp>
        <p:nvSpPr>
          <p:cNvPr id="2" name="Date Placeholder 1"/>
          <p:cNvSpPr>
            <a:spLocks noGrp="1"/>
          </p:cNvSpPr>
          <p:nvPr>
            <p:ph type="dt" sz="half" idx="38"/>
          </p:nvPr>
        </p:nvSpPr>
        <p:spPr/>
        <p:txBody>
          <a:bodyPr/>
          <a:lstStyle/>
          <a:p>
            <a:pPr>
              <a:lnSpc>
                <a:spcPct val="85000"/>
              </a:lnSpc>
            </a:pPr>
            <a:r>
              <a:rPr lang="en-US"/>
              <a:t>Presentation Title | Author | Date</a:t>
            </a:r>
            <a:endParaRPr lang="en-US" dirty="0"/>
          </a:p>
        </p:txBody>
      </p:sp>
      <p:sp>
        <p:nvSpPr>
          <p:cNvPr id="3" name="Footer Placeholder 2"/>
          <p:cNvSpPr>
            <a:spLocks noGrp="1"/>
          </p:cNvSpPr>
          <p:nvPr>
            <p:ph type="ftr" sz="quarter" idx="39"/>
          </p:nvPr>
        </p:nvSpPr>
        <p:spPr/>
        <p:txBody>
          <a:bodyPr/>
          <a:lstStyle/>
          <a:p>
            <a:r>
              <a:rPr lang="en-US"/>
              <a:t>© 2017 Capgemini. All rights reserved.</a:t>
            </a:r>
          </a:p>
        </p:txBody>
      </p:sp>
      <p:sp>
        <p:nvSpPr>
          <p:cNvPr id="4" name="Slide Number Placeholder 3"/>
          <p:cNvSpPr>
            <a:spLocks noGrp="1"/>
          </p:cNvSpPr>
          <p:nvPr>
            <p:ph type="sldNum" sz="quarter" idx="40"/>
          </p:nvPr>
        </p:nvSpPr>
        <p:spPr/>
        <p:txBody>
          <a:bodyPr/>
          <a:lstStyle/>
          <a:p>
            <a:pPr algn="r"/>
            <a:fld id="{DD205EFF-948D-4AF6-B54C-65639188FB5F}" type="slidenum">
              <a:rPr lang="en-US" smtClean="0"/>
              <a:pPr algn="r"/>
              <a:t>‹#›</a:t>
            </a:fld>
            <a:endParaRPr lang="en-US"/>
          </a:p>
        </p:txBody>
      </p:sp>
      <p:sp>
        <p:nvSpPr>
          <p:cNvPr id="5" name="Title 4"/>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980789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 name="Date Placeholder 1"/>
          <p:cNvSpPr>
            <a:spLocks noGrp="1"/>
          </p:cNvSpPr>
          <p:nvPr>
            <p:ph type="dt" sz="half" idx="36"/>
          </p:nvPr>
        </p:nvSpPr>
        <p:spPr/>
        <p:txBody>
          <a:bodyPr/>
          <a:lstStyle/>
          <a:p>
            <a:pPr>
              <a:lnSpc>
                <a:spcPct val="85000"/>
              </a:lnSpc>
            </a:pPr>
            <a:r>
              <a:rPr lang="en-US"/>
              <a:t>Presentation Title | Author | Date</a:t>
            </a:r>
            <a:endParaRPr lang="en-US" dirty="0"/>
          </a:p>
        </p:txBody>
      </p:sp>
      <p:sp>
        <p:nvSpPr>
          <p:cNvPr id="3" name="Footer Placeholder 2"/>
          <p:cNvSpPr>
            <a:spLocks noGrp="1"/>
          </p:cNvSpPr>
          <p:nvPr>
            <p:ph type="ftr" sz="quarter" idx="37"/>
          </p:nvPr>
        </p:nvSpPr>
        <p:spPr/>
        <p:txBody>
          <a:bodyPr/>
          <a:lstStyle/>
          <a:p>
            <a:r>
              <a:rPr lang="en-US"/>
              <a:t>© 2017 Capgemini. All rights reserved.</a:t>
            </a:r>
          </a:p>
        </p:txBody>
      </p:sp>
      <p:sp>
        <p:nvSpPr>
          <p:cNvPr id="4" name="Slide Number Placeholder 3"/>
          <p:cNvSpPr>
            <a:spLocks noGrp="1"/>
          </p:cNvSpPr>
          <p:nvPr>
            <p:ph type="sldNum" sz="quarter" idx="38"/>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27726636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0905303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4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6">
            <a:extLst>
              <a:ext uri="{96DAC541-7B7A-43D3-8B79-37D633B846F1}">
                <asvg:svgBlip xmlns:asvg="http://schemas.microsoft.com/office/drawing/2016/SVG/main" r:embed="rId7"/>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11547793" y="188640"/>
            <a:ext cx="424356" cy="459624"/>
          </a:xfrm>
          <a:prstGeom prst="rect">
            <a:avLst/>
          </a:prstGeom>
        </p:spPr>
      </p:pic>
      <p:sp>
        <p:nvSpPr>
          <p:cNvPr id="2" name="Date Placeholder 1"/>
          <p:cNvSpPr>
            <a:spLocks noGrp="1"/>
          </p:cNvSpPr>
          <p:nvPr>
            <p:ph type="dt" sz="half" idx="36"/>
          </p:nvPr>
        </p:nvSpPr>
        <p:spPr/>
        <p:txBody>
          <a:bodyPr/>
          <a:lstStyle/>
          <a:p>
            <a:pPr>
              <a:lnSpc>
                <a:spcPct val="85000"/>
              </a:lnSpc>
            </a:pPr>
            <a:r>
              <a:rPr lang="en-US"/>
              <a:t>Presentation Title | Author | Date</a:t>
            </a:r>
            <a:endParaRPr lang="en-US" dirty="0"/>
          </a:p>
        </p:txBody>
      </p:sp>
      <p:sp>
        <p:nvSpPr>
          <p:cNvPr id="4" name="Footer Placeholder 3"/>
          <p:cNvSpPr>
            <a:spLocks noGrp="1"/>
          </p:cNvSpPr>
          <p:nvPr>
            <p:ph type="ftr" sz="quarter" idx="37"/>
          </p:nvPr>
        </p:nvSpPr>
        <p:spPr/>
        <p:txBody>
          <a:bodyPr/>
          <a:lstStyle/>
          <a:p>
            <a:r>
              <a:rPr lang="en-US"/>
              <a:t>© 2017 Capgemini. All rights reserved.</a:t>
            </a:r>
          </a:p>
        </p:txBody>
      </p:sp>
      <p:sp>
        <p:nvSpPr>
          <p:cNvPr id="5" name="Slide Number Placeholder 4"/>
          <p:cNvSpPr>
            <a:spLocks noGrp="1"/>
          </p:cNvSpPr>
          <p:nvPr>
            <p:ph type="sldNum" sz="quarter" idx="38"/>
          </p:nvPr>
        </p:nvSpPr>
        <p:spPr/>
        <p:txBody>
          <a:bodyPr/>
          <a:lstStyle/>
          <a:p>
            <a:pPr algn="r"/>
            <a:fld id="{DD205EFF-948D-4AF6-B54C-65639188FB5F}" type="slidenum">
              <a:rPr lang="en-US" smtClean="0"/>
              <a:pPr algn="r"/>
              <a:t>‹#›</a:t>
            </a:fld>
            <a:endParaRPr lang="en-US"/>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2318641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8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3599760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50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37303" cy="44662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1001227"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8278706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4 (with image)">
    <p:bg>
      <p:bgPr>
        <a:solidFill>
          <a:schemeClr val="bg2"/>
        </a:solidFill>
        <a:effectLst/>
      </p:bgPr>
    </p:bg>
    <p:spTree>
      <p:nvGrpSpPr>
        <p:cNvPr id="1" name=""/>
        <p:cNvGrpSpPr/>
        <p:nvPr/>
      </p:nvGrpSpPr>
      <p:grpSpPr>
        <a:xfrm>
          <a:off x="0" y="0"/>
          <a:ext cx="0" cy="0"/>
          <a:chOff x="0" y="0"/>
          <a:chExt cx="0" cy="0"/>
        </a:xfrm>
      </p:grpSpPr>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407988" y="3555553"/>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407988" y="4540515"/>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9" name="Freeform 8"/>
          <p:cNvSpPr>
            <a:spLocks/>
          </p:cNvSpPr>
          <p:nvPr userDrawn="1"/>
        </p:nvSpPr>
        <p:spPr bwMode="auto">
          <a:xfrm rot="16200000" flipH="1">
            <a:off x="6452111" y="-68077"/>
            <a:ext cx="5668785" cy="5804940"/>
          </a:xfrm>
          <a:custGeom>
            <a:avLst/>
            <a:gdLst>
              <a:gd name="connsiteX0" fmla="*/ 0 w 5668785"/>
              <a:gd name="connsiteY0" fmla="*/ 1025493 h 5804940"/>
              <a:gd name="connsiteX1" fmla="*/ 0 w 5668785"/>
              <a:gd name="connsiteY1" fmla="*/ 5780147 h 5804940"/>
              <a:gd name="connsiteX2" fmla="*/ 0 w 5668785"/>
              <a:gd name="connsiteY2" fmla="*/ 5804940 h 5804940"/>
              <a:gd name="connsiteX3" fmla="*/ 4356105 w 5668785"/>
              <a:gd name="connsiteY3" fmla="*/ 5804940 h 5804940"/>
              <a:gd name="connsiteX4" fmla="*/ 4387147 w 5668785"/>
              <a:gd name="connsiteY4" fmla="*/ 5753960 h 5804940"/>
              <a:gd name="connsiteX5" fmla="*/ 4144239 w 5668785"/>
              <a:gd name="connsiteY5" fmla="*/ 0 h 5804940"/>
              <a:gd name="connsiteX6" fmla="*/ 0 w 5668785"/>
              <a:gd name="connsiteY6" fmla="*/ 1025493 h 580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8785" h="5804940">
                <a:moveTo>
                  <a:pt x="0" y="1025493"/>
                </a:moveTo>
                <a:cubicBezTo>
                  <a:pt x="0" y="3841436"/>
                  <a:pt x="0" y="5161410"/>
                  <a:pt x="0" y="5780147"/>
                </a:cubicBezTo>
                <a:lnTo>
                  <a:pt x="0" y="5804940"/>
                </a:lnTo>
                <a:lnTo>
                  <a:pt x="4356105" y="5804940"/>
                </a:lnTo>
                <a:lnTo>
                  <a:pt x="4387147" y="5753960"/>
                </a:lnTo>
                <a:cubicBezTo>
                  <a:pt x="6056693" y="2965876"/>
                  <a:pt x="6215804" y="1252733"/>
                  <a:pt x="4144239" y="0"/>
                </a:cubicBezTo>
                <a:cubicBezTo>
                  <a:pt x="1739338" y="1309612"/>
                  <a:pt x="572384" y="1318491"/>
                  <a:pt x="0" y="1025493"/>
                </a:cubicBezTo>
                <a:close/>
              </a:path>
            </a:pathLst>
          </a:cu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6120501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341256"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341256" cy="743987"/>
          </a:xfrm>
          <a:prstGeom prst="rect">
            <a:avLst/>
          </a:prstGeom>
        </p:spPr>
        <p:txBody>
          <a:bodyPr anchor="b"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341256" cy="743987"/>
          </a:xfrm>
          <a:prstGeom prst="rect">
            <a:avLst/>
          </a:prstGeom>
        </p:spPr>
        <p:txBody>
          <a:bodyPr anchor="b"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341256"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49255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3673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40052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4329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902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3375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292" name="AutoShape 4"/>
          <p:cNvSpPr>
            <a:spLocks noChangeAspect="1" noChangeArrowheads="1" noTextEdit="1"/>
          </p:cNvSpPr>
          <p:nvPr userDrawn="1"/>
        </p:nvSpPr>
        <p:spPr bwMode="auto">
          <a:xfrm>
            <a:off x="-7302500" y="2698750"/>
            <a:ext cx="6261100" cy="41592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87711915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1"/>
          <a:ext cx="180999" cy="143985"/>
        </p:xfrm>
        <a:graphic>
          <a:graphicData uri="http://schemas.openxmlformats.org/presentationml/2006/ole">
            <mc:AlternateContent xmlns:mc="http://schemas.openxmlformats.org/markup-compatibility/2006">
              <mc:Choice xmlns:v="urn:schemas-microsoft-com:vml" Requires="v">
                <p:oleObj spid="_x0000_s27680"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idx="1"/>
            <p:custDataLst>
              <p:tags r:id="rId3"/>
            </p:custDataLst>
          </p:nvPr>
        </p:nvSpPr>
        <p:spPr>
          <a:xfrm>
            <a:off x="420077" y="1828801"/>
            <a:ext cx="11351848" cy="4438649"/>
          </a:xfrm>
        </p:spPr>
        <p:txBody>
          <a:bodyPr/>
          <a:lstStyle>
            <a:lvl1pPr>
              <a:defRPr b="0"/>
            </a:lvl1pPr>
            <a:lvl2pPr marL="519488" indent="-254334">
              <a:defRPr/>
            </a:lvl2pPr>
            <a:lvl3pPr>
              <a:defRPr/>
            </a:lvl3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Espace réservé du texte 7"/>
          <p:cNvSpPr>
            <a:spLocks noGrp="1"/>
          </p:cNvSpPr>
          <p:nvPr>
            <p:ph type="body" sz="quarter" idx="11"/>
            <p:custDataLst>
              <p:tags r:id="rId4"/>
            </p:custDataLst>
          </p:nvPr>
        </p:nvSpPr>
        <p:spPr>
          <a:xfrm>
            <a:off x="420077" y="1255713"/>
            <a:ext cx="11351848" cy="548640"/>
          </a:xfrm>
        </p:spPr>
        <p:txBody>
          <a:bodyPr/>
          <a:lstStyle>
            <a:lvl1pPr marL="0" indent="0">
              <a:buNone/>
              <a:defRPr sz="2267" b="1">
                <a:solidFill>
                  <a:srgbClr val="E47E1A"/>
                </a:solidFill>
              </a:defRPr>
            </a:lvl1pPr>
          </a:lstStyle>
          <a:p>
            <a:pPr lvl="0"/>
            <a:r>
              <a:rPr lang="en-US"/>
              <a:t>Click to edit Master text styles</a:t>
            </a: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08525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4298310" y="-1588"/>
            <a:ext cx="7893690" cy="6859588"/>
          </a:xfrm>
          <a:solidFill>
            <a:schemeClr val="bg2">
              <a:lumMod val="90000"/>
            </a:schemeClr>
          </a:solidFill>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407988" y="3068960"/>
            <a:ext cx="3671732"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407988" y="4040163"/>
            <a:ext cx="3671732"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2627940246"/>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icture placeholder before form">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extLst>
              <p:ext uri="{D42A27DB-BD31-4B8C-83A1-F6EECF244321}">
                <p14:modId xmlns:p14="http://schemas.microsoft.com/office/powerpoint/2010/main" val="11570713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Freeform 5"/>
          <p:cNvSpPr>
            <a:spLocks/>
          </p:cNvSpPr>
          <p:nvPr userDrawn="1"/>
        </p:nvSpPr>
        <p:spPr bwMode="auto">
          <a:xfrm>
            <a:off x="1" y="2276840"/>
            <a:ext cx="5476802" cy="4581160"/>
          </a:xfrm>
          <a:custGeom>
            <a:avLst/>
            <a:gdLst>
              <a:gd name="T0" fmla="*/ 2024 w 2024"/>
              <a:gd name="T1" fmla="*/ 781 h 1692"/>
              <a:gd name="T2" fmla="*/ 2024 w 2024"/>
              <a:gd name="T3" fmla="*/ 881 h 1692"/>
              <a:gd name="T4" fmla="*/ 2018 w 2024"/>
              <a:gd name="T5" fmla="*/ 950 h 1692"/>
              <a:gd name="T6" fmla="*/ 1937 w 2024"/>
              <a:gd name="T7" fmla="*/ 1296 h 1692"/>
              <a:gd name="T8" fmla="*/ 1776 w 2024"/>
              <a:gd name="T9" fmla="*/ 1675 h 1692"/>
              <a:gd name="T10" fmla="*/ 1747 w 2024"/>
              <a:gd name="T11" fmla="*/ 1692 h 1692"/>
              <a:gd name="T12" fmla="*/ 16 w 2024"/>
              <a:gd name="T13" fmla="*/ 1692 h 1692"/>
              <a:gd name="T14" fmla="*/ 0 w 2024"/>
              <a:gd name="T15" fmla="*/ 1692 h 1692"/>
              <a:gd name="T16" fmla="*/ 0 w 2024"/>
              <a:gd name="T17" fmla="*/ 367 h 1692"/>
              <a:gd name="T18" fmla="*/ 10 w 2024"/>
              <a:gd name="T19" fmla="*/ 370 h 1692"/>
              <a:gd name="T20" fmla="*/ 245 w 2024"/>
              <a:gd name="T21" fmla="*/ 420 h 1692"/>
              <a:gd name="T22" fmla="*/ 487 w 2024"/>
              <a:gd name="T23" fmla="*/ 398 h 1692"/>
              <a:gd name="T24" fmla="*/ 905 w 2024"/>
              <a:gd name="T25" fmla="*/ 272 h 1692"/>
              <a:gd name="T26" fmla="*/ 1407 w 2024"/>
              <a:gd name="T27" fmla="*/ 38 h 1692"/>
              <a:gd name="T28" fmla="*/ 1477 w 2024"/>
              <a:gd name="T29" fmla="*/ 0 h 1692"/>
              <a:gd name="T30" fmla="*/ 1482 w 2024"/>
              <a:gd name="T31" fmla="*/ 0 h 1692"/>
              <a:gd name="T32" fmla="*/ 1491 w 2024"/>
              <a:gd name="T33" fmla="*/ 6 h 1692"/>
              <a:gd name="T34" fmla="*/ 1726 w 2024"/>
              <a:gd name="T35" fmla="*/ 180 h 1692"/>
              <a:gd name="T36" fmla="*/ 1896 w 2024"/>
              <a:gd name="T37" fmla="*/ 379 h 1692"/>
              <a:gd name="T38" fmla="*/ 2019 w 2024"/>
              <a:gd name="T39" fmla="*/ 730 h 1692"/>
              <a:gd name="T40" fmla="*/ 2024 w 2024"/>
              <a:gd name="T41" fmla="*/ 781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4" h="1692">
                <a:moveTo>
                  <a:pt x="2024" y="781"/>
                </a:moveTo>
                <a:cubicBezTo>
                  <a:pt x="2024" y="815"/>
                  <a:pt x="2024" y="848"/>
                  <a:pt x="2024" y="881"/>
                </a:cubicBezTo>
                <a:cubicBezTo>
                  <a:pt x="2022" y="904"/>
                  <a:pt x="2020" y="927"/>
                  <a:pt x="2018" y="950"/>
                </a:cubicBezTo>
                <a:cubicBezTo>
                  <a:pt x="2005" y="1069"/>
                  <a:pt x="1975" y="1183"/>
                  <a:pt x="1937" y="1296"/>
                </a:cubicBezTo>
                <a:cubicBezTo>
                  <a:pt x="1892" y="1426"/>
                  <a:pt x="1837" y="1552"/>
                  <a:pt x="1776" y="1675"/>
                </a:cubicBezTo>
                <a:cubicBezTo>
                  <a:pt x="1769" y="1688"/>
                  <a:pt x="1762" y="1692"/>
                  <a:pt x="1747" y="1692"/>
                </a:cubicBezTo>
                <a:cubicBezTo>
                  <a:pt x="1170" y="1692"/>
                  <a:pt x="593" y="1692"/>
                  <a:pt x="16" y="1692"/>
                </a:cubicBezTo>
                <a:cubicBezTo>
                  <a:pt x="11" y="1692"/>
                  <a:pt x="5" y="1692"/>
                  <a:pt x="0" y="1692"/>
                </a:cubicBezTo>
                <a:cubicBezTo>
                  <a:pt x="0" y="1250"/>
                  <a:pt x="0" y="808"/>
                  <a:pt x="0" y="367"/>
                </a:cubicBezTo>
                <a:cubicBezTo>
                  <a:pt x="3" y="368"/>
                  <a:pt x="7" y="369"/>
                  <a:pt x="10" y="370"/>
                </a:cubicBezTo>
                <a:cubicBezTo>
                  <a:pt x="84" y="405"/>
                  <a:pt x="163" y="418"/>
                  <a:pt x="245" y="420"/>
                </a:cubicBezTo>
                <a:cubicBezTo>
                  <a:pt x="326" y="422"/>
                  <a:pt x="407" y="413"/>
                  <a:pt x="487" y="398"/>
                </a:cubicBezTo>
                <a:cubicBezTo>
                  <a:pt x="631" y="371"/>
                  <a:pt x="769" y="325"/>
                  <a:pt x="905" y="272"/>
                </a:cubicBezTo>
                <a:cubicBezTo>
                  <a:pt x="1077" y="205"/>
                  <a:pt x="1244" y="125"/>
                  <a:pt x="1407" y="38"/>
                </a:cubicBezTo>
                <a:cubicBezTo>
                  <a:pt x="1430" y="26"/>
                  <a:pt x="1454" y="14"/>
                  <a:pt x="1477" y="0"/>
                </a:cubicBezTo>
                <a:cubicBezTo>
                  <a:pt x="1478" y="0"/>
                  <a:pt x="1480" y="0"/>
                  <a:pt x="1482" y="0"/>
                </a:cubicBezTo>
                <a:cubicBezTo>
                  <a:pt x="1485" y="2"/>
                  <a:pt x="1488" y="4"/>
                  <a:pt x="1491" y="6"/>
                </a:cubicBezTo>
                <a:cubicBezTo>
                  <a:pt x="1574" y="57"/>
                  <a:pt x="1653" y="114"/>
                  <a:pt x="1726" y="180"/>
                </a:cubicBezTo>
                <a:cubicBezTo>
                  <a:pt x="1791" y="239"/>
                  <a:pt x="1848" y="305"/>
                  <a:pt x="1896" y="379"/>
                </a:cubicBezTo>
                <a:cubicBezTo>
                  <a:pt x="1964" y="486"/>
                  <a:pt x="2005" y="603"/>
                  <a:pt x="2019" y="730"/>
                </a:cubicBezTo>
                <a:cubicBezTo>
                  <a:pt x="2020" y="747"/>
                  <a:pt x="2022" y="764"/>
                  <a:pt x="2024" y="78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7" name="Picture Placeholder 16"/>
          <p:cNvSpPr>
            <a:spLocks noGrp="1"/>
          </p:cNvSpPr>
          <p:nvPr>
            <p:ph type="pic" sz="quarter" idx="23"/>
          </p:nvPr>
        </p:nvSpPr>
        <p:spPr>
          <a:xfrm>
            <a:off x="0" y="1844780"/>
            <a:ext cx="6114065" cy="5013220"/>
          </a:xfrm>
        </p:spPr>
        <p:txBody>
          <a:bodyPr anchor="ctr"/>
          <a:lstStyle>
            <a:lvl1pPr algn="ctr">
              <a:defRPr/>
            </a:lvl1pPr>
          </a:lstStyle>
          <a:p>
            <a:r>
              <a:rPr lang="en-US"/>
              <a:t>Click icon to add picture</a:t>
            </a:r>
            <a:endParaRPr lang="de-DE"/>
          </a:p>
        </p:txBody>
      </p:sp>
      <p:sp>
        <p:nvSpPr>
          <p:cNvPr id="18" name="Title 17"/>
          <p:cNvSpPr>
            <a:spLocks noGrp="1"/>
          </p:cNvSpPr>
          <p:nvPr>
            <p:ph type="title"/>
          </p:nvPr>
        </p:nvSpPr>
        <p:spPr/>
        <p:txBody>
          <a:bodyPr/>
          <a:lstStyle/>
          <a:p>
            <a:r>
              <a:rPr lang="en-US"/>
              <a:t>Click to edit Master title style</a:t>
            </a:r>
            <a:endParaRPr lang="de-DE"/>
          </a:p>
        </p:txBody>
      </p:sp>
      <p:cxnSp>
        <p:nvCxnSpPr>
          <p:cNvPr id="3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4" name="Text Placeholder 23"/>
          <p:cNvSpPr>
            <a:spLocks noGrp="1"/>
          </p:cNvSpPr>
          <p:nvPr>
            <p:ph type="body" sz="quarter" idx="24"/>
          </p:nvPr>
        </p:nvSpPr>
        <p:spPr>
          <a:xfrm>
            <a:off x="6240463" y="1412875"/>
            <a:ext cx="5543550" cy="5040313"/>
          </a:xfrm>
        </p:spPr>
        <p:txBody>
          <a:bodyPr/>
          <a:lstStyle>
            <a:lvl1pPr>
              <a:spcBef>
                <a:spcPts val="1200"/>
              </a:spcBef>
              <a:defRPr sz="1600"/>
            </a:lvl1pPr>
            <a:lvl2pPr>
              <a:spcBef>
                <a:spcPts val="1200"/>
              </a:spcBef>
              <a:defRPr sz="1600"/>
            </a:lvl2pPr>
            <a:lvl3pPr>
              <a:spcBef>
                <a:spcPts val="800"/>
              </a:spcBef>
              <a:defRPr sz="1600"/>
            </a:lvl3pPr>
            <a:lvl4pPr>
              <a:spcBef>
                <a:spcPts val="800"/>
              </a:spcBef>
              <a:defRPr sz="1400"/>
            </a:lvl4pPr>
            <a:lvl5pPr>
              <a:spcBef>
                <a:spcPts val="80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5" name="Date Placeholder 24"/>
          <p:cNvSpPr>
            <a:spLocks noGrp="1"/>
          </p:cNvSpPr>
          <p:nvPr>
            <p:ph type="dt" sz="half" idx="25"/>
          </p:nvPr>
        </p:nvSpPr>
        <p:spPr/>
        <p:txBody>
          <a:bodyPr/>
          <a:lstStyle/>
          <a:p>
            <a:pPr>
              <a:lnSpc>
                <a:spcPct val="85000"/>
              </a:lnSpc>
            </a:pPr>
            <a:r>
              <a:rPr lang="en-US"/>
              <a:t>Presentation Title | Author | Date</a:t>
            </a:r>
            <a:endParaRPr lang="en-US" dirty="0"/>
          </a:p>
        </p:txBody>
      </p:sp>
      <p:sp>
        <p:nvSpPr>
          <p:cNvPr id="26" name="Footer Placeholder 25"/>
          <p:cNvSpPr>
            <a:spLocks noGrp="1"/>
          </p:cNvSpPr>
          <p:nvPr>
            <p:ph type="ftr" sz="quarter" idx="26"/>
          </p:nvPr>
        </p:nvSpPr>
        <p:spPr/>
        <p:txBody>
          <a:bodyPr/>
          <a:lstStyle/>
          <a:p>
            <a:r>
              <a:rPr lang="en-US"/>
              <a:t>© 2017 Capgemini. All rights reserved.</a:t>
            </a:r>
            <a:endParaRPr lang="en-US" dirty="0"/>
          </a:p>
        </p:txBody>
      </p:sp>
      <p:sp>
        <p:nvSpPr>
          <p:cNvPr id="27" name="Slide Number Placeholder 26"/>
          <p:cNvSpPr>
            <a:spLocks noGrp="1"/>
          </p:cNvSpPr>
          <p:nvPr>
            <p:ph type="sldNum" sz="quarter" idx="27"/>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5747787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icture placeholder in form">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extLst>
              <p:ext uri="{D42A27DB-BD31-4B8C-83A1-F6EECF244321}">
                <p14:modId xmlns:p14="http://schemas.microsoft.com/office/powerpoint/2010/main" val="3724810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1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Picture Placeholder 15"/>
          <p:cNvSpPr>
            <a:spLocks noGrp="1"/>
          </p:cNvSpPr>
          <p:nvPr>
            <p:ph type="pic" sz="quarter" idx="23"/>
          </p:nvPr>
        </p:nvSpPr>
        <p:spPr>
          <a:xfrm>
            <a:off x="1" y="1699130"/>
            <a:ext cx="6184327" cy="5158870"/>
          </a:xfrm>
          <a:custGeom>
            <a:avLst/>
            <a:gdLst>
              <a:gd name="connsiteX0" fmla="*/ 4509914 w 6184327"/>
              <a:gd name="connsiteY0" fmla="*/ 0 h 5158870"/>
              <a:gd name="connsiteX1" fmla="*/ 4528247 w 6184327"/>
              <a:gd name="connsiteY1" fmla="*/ 0 h 5158870"/>
              <a:gd name="connsiteX2" fmla="*/ 4555747 w 6184327"/>
              <a:gd name="connsiteY2" fmla="*/ 18337 h 5158870"/>
              <a:gd name="connsiteX3" fmla="*/ 5270733 w 6184327"/>
              <a:gd name="connsiteY3" fmla="*/ 550116 h 5158870"/>
              <a:gd name="connsiteX4" fmla="*/ 5793223 w 6184327"/>
              <a:gd name="connsiteY4" fmla="*/ 1158301 h 5158870"/>
              <a:gd name="connsiteX5" fmla="*/ 6169049 w 6184327"/>
              <a:gd name="connsiteY5" fmla="*/ 2231028 h 5158870"/>
              <a:gd name="connsiteX6" fmla="*/ 6184327 w 6184327"/>
              <a:gd name="connsiteY6" fmla="*/ 2389951 h 5158870"/>
              <a:gd name="connsiteX7" fmla="*/ 6184327 w 6184327"/>
              <a:gd name="connsiteY7" fmla="*/ 2692515 h 5158870"/>
              <a:gd name="connsiteX8" fmla="*/ 6165994 w 6184327"/>
              <a:gd name="connsiteY8" fmla="*/ 2903393 h 5158870"/>
              <a:gd name="connsiteX9" fmla="*/ 5918498 w 6184327"/>
              <a:gd name="connsiteY9" fmla="*/ 3960839 h 5158870"/>
              <a:gd name="connsiteX10" fmla="*/ 5426563 w 6184327"/>
              <a:gd name="connsiteY10" fmla="*/ 5119140 h 5158870"/>
              <a:gd name="connsiteX11" fmla="*/ 5392953 w 6184327"/>
              <a:gd name="connsiteY11" fmla="*/ 5158870 h 5158870"/>
              <a:gd name="connsiteX12" fmla="*/ 0 w 6184327"/>
              <a:gd name="connsiteY12" fmla="*/ 5158870 h 5158870"/>
              <a:gd name="connsiteX13" fmla="*/ 0 w 6184327"/>
              <a:gd name="connsiteY13" fmla="*/ 1121626 h 5158870"/>
              <a:gd name="connsiteX14" fmla="*/ 30555 w 6184327"/>
              <a:gd name="connsiteY14" fmla="*/ 1130795 h 5158870"/>
              <a:gd name="connsiteX15" fmla="*/ 745542 w 6184327"/>
              <a:gd name="connsiteY15" fmla="*/ 1283605 h 5158870"/>
              <a:gd name="connsiteX16" fmla="*/ 1488027 w 6184327"/>
              <a:gd name="connsiteY16" fmla="*/ 1216369 h 5158870"/>
              <a:gd name="connsiteX17" fmla="*/ 2765225 w 6184327"/>
              <a:gd name="connsiteY17" fmla="*/ 831287 h 5158870"/>
              <a:gd name="connsiteX18" fmla="*/ 4299085 w 6184327"/>
              <a:gd name="connsiteY18" fmla="*/ 116136 h 5158870"/>
              <a:gd name="connsiteX19" fmla="*/ 4509914 w 6184327"/>
              <a:gd name="connsiteY19" fmla="*/ 0 h 515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84327" h="5158870">
                <a:moveTo>
                  <a:pt x="4509914" y="0"/>
                </a:moveTo>
                <a:cubicBezTo>
                  <a:pt x="4516025" y="0"/>
                  <a:pt x="4522136" y="0"/>
                  <a:pt x="4528247" y="0"/>
                </a:cubicBezTo>
                <a:cubicBezTo>
                  <a:pt x="4537414" y="6112"/>
                  <a:pt x="4546580" y="15281"/>
                  <a:pt x="4555747" y="18337"/>
                </a:cubicBezTo>
                <a:cubicBezTo>
                  <a:pt x="4809353" y="177260"/>
                  <a:pt x="5050737" y="348407"/>
                  <a:pt x="5270733" y="550116"/>
                </a:cubicBezTo>
                <a:cubicBezTo>
                  <a:pt x="5469340" y="733489"/>
                  <a:pt x="5646559" y="932142"/>
                  <a:pt x="5793223" y="1158301"/>
                </a:cubicBezTo>
                <a:cubicBezTo>
                  <a:pt x="6000997" y="1488371"/>
                  <a:pt x="6126272" y="1845946"/>
                  <a:pt x="6169049" y="2231028"/>
                </a:cubicBezTo>
                <a:cubicBezTo>
                  <a:pt x="6172105" y="2282983"/>
                  <a:pt x="6178216" y="2334939"/>
                  <a:pt x="6184327" y="2389951"/>
                </a:cubicBezTo>
                <a:cubicBezTo>
                  <a:pt x="6184327" y="2490805"/>
                  <a:pt x="6184327" y="2591660"/>
                  <a:pt x="6184327" y="2692515"/>
                </a:cubicBezTo>
                <a:cubicBezTo>
                  <a:pt x="6178216" y="2762807"/>
                  <a:pt x="6172105" y="2833100"/>
                  <a:pt x="6165994" y="2903393"/>
                </a:cubicBezTo>
                <a:cubicBezTo>
                  <a:pt x="6123217" y="3267081"/>
                  <a:pt x="6034607" y="3618544"/>
                  <a:pt x="5918498" y="3960839"/>
                </a:cubicBezTo>
                <a:cubicBezTo>
                  <a:pt x="5781001" y="4358145"/>
                  <a:pt x="5612949" y="4743227"/>
                  <a:pt x="5426563" y="5119140"/>
                </a:cubicBezTo>
                <a:cubicBezTo>
                  <a:pt x="5414341" y="5137477"/>
                  <a:pt x="5405175" y="5152758"/>
                  <a:pt x="5392953" y="5158870"/>
                </a:cubicBezTo>
                <a:lnTo>
                  <a:pt x="0" y="5158870"/>
                </a:lnTo>
                <a:lnTo>
                  <a:pt x="0" y="1121626"/>
                </a:lnTo>
                <a:cubicBezTo>
                  <a:pt x="9167" y="1124683"/>
                  <a:pt x="21389" y="1127739"/>
                  <a:pt x="30555" y="1130795"/>
                </a:cubicBezTo>
                <a:cubicBezTo>
                  <a:pt x="256662" y="1237762"/>
                  <a:pt x="498046" y="1277493"/>
                  <a:pt x="745542" y="1283605"/>
                </a:cubicBezTo>
                <a:cubicBezTo>
                  <a:pt x="996092" y="1289718"/>
                  <a:pt x="1243588" y="1262212"/>
                  <a:pt x="1488027" y="1216369"/>
                </a:cubicBezTo>
                <a:cubicBezTo>
                  <a:pt x="1928019" y="1133851"/>
                  <a:pt x="2349677" y="993266"/>
                  <a:pt x="2765225" y="831287"/>
                </a:cubicBezTo>
                <a:cubicBezTo>
                  <a:pt x="3290771" y="626522"/>
                  <a:pt x="3797983" y="382025"/>
                  <a:pt x="4299085" y="116136"/>
                </a:cubicBezTo>
                <a:cubicBezTo>
                  <a:pt x="4369361" y="79461"/>
                  <a:pt x="4442693" y="42787"/>
                  <a:pt x="4509914" y="0"/>
                </a:cubicBezTo>
                <a:close/>
              </a:path>
            </a:pathLst>
          </a:custGeom>
          <a:solidFill>
            <a:schemeClr val="bg2">
              <a:lumMod val="90000"/>
            </a:schemeClr>
          </a:solidFill>
          <a:ln>
            <a:noFill/>
          </a:ln>
        </p:spPr>
        <p:txBody>
          <a:bodyPr wrap="square" anchor="ctr">
            <a:noAutofit/>
          </a:bodyPr>
          <a:lstStyle>
            <a:lvl1pPr algn="ctr">
              <a:defRPr/>
            </a:lvl1pPr>
          </a:lstStyle>
          <a:p>
            <a:r>
              <a:rPr lang="en-US"/>
              <a:t>Click icon to add picture</a:t>
            </a:r>
            <a:endParaRPr lang="de-DE"/>
          </a:p>
        </p:txBody>
      </p:sp>
      <p:sp>
        <p:nvSpPr>
          <p:cNvPr id="18" name="Title 17"/>
          <p:cNvSpPr>
            <a:spLocks noGrp="1"/>
          </p:cNvSpPr>
          <p:nvPr>
            <p:ph type="title"/>
          </p:nvPr>
        </p:nvSpPr>
        <p:spPr/>
        <p:txBody>
          <a:bodyPr/>
          <a:lstStyle/>
          <a:p>
            <a:r>
              <a:rPr lang="en-US"/>
              <a:t>Click to edit Master title style</a:t>
            </a:r>
            <a:endParaRPr lang="de-DE"/>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Text Placeholder 20"/>
          <p:cNvSpPr>
            <a:spLocks noGrp="1"/>
          </p:cNvSpPr>
          <p:nvPr>
            <p:ph type="body" sz="quarter" idx="28"/>
          </p:nvPr>
        </p:nvSpPr>
        <p:spPr>
          <a:xfrm>
            <a:off x="6240463" y="1412875"/>
            <a:ext cx="5543550" cy="5040313"/>
          </a:xfrm>
        </p:spPr>
        <p:txBody>
          <a:bodyPr/>
          <a:lstStyle>
            <a:lvl1pPr>
              <a:spcBef>
                <a:spcPts val="1200"/>
              </a:spcBef>
              <a:defRPr sz="1600"/>
            </a:lvl1pPr>
            <a:lvl2pPr>
              <a:spcBef>
                <a:spcPts val="1200"/>
              </a:spcBef>
              <a:defRPr sz="1600"/>
            </a:lvl2pPr>
            <a:lvl3pPr>
              <a:spcBef>
                <a:spcPts val="800"/>
              </a:spcBef>
              <a:defRPr sz="1600"/>
            </a:lvl3pPr>
            <a:lvl4pPr>
              <a:spcBef>
                <a:spcPts val="800"/>
              </a:spcBef>
              <a:defRPr sz="1400"/>
            </a:lvl4pPr>
            <a:lvl5pPr>
              <a:spcBef>
                <a:spcPts val="80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Date Placeholder 22"/>
          <p:cNvSpPr>
            <a:spLocks noGrp="1"/>
          </p:cNvSpPr>
          <p:nvPr>
            <p:ph type="dt" sz="half" idx="29"/>
          </p:nvPr>
        </p:nvSpPr>
        <p:spPr/>
        <p:txBody>
          <a:bodyPr/>
          <a:lstStyle/>
          <a:p>
            <a:pPr>
              <a:lnSpc>
                <a:spcPct val="85000"/>
              </a:lnSpc>
            </a:pPr>
            <a:r>
              <a:rPr lang="en-US"/>
              <a:t>Presentation Title | Author | Date</a:t>
            </a:r>
            <a:endParaRPr lang="en-US" dirty="0"/>
          </a:p>
        </p:txBody>
      </p:sp>
      <p:sp>
        <p:nvSpPr>
          <p:cNvPr id="24" name="Footer Placeholder 23"/>
          <p:cNvSpPr>
            <a:spLocks noGrp="1"/>
          </p:cNvSpPr>
          <p:nvPr>
            <p:ph type="ftr" sz="quarter" idx="30"/>
          </p:nvPr>
        </p:nvSpPr>
        <p:spPr/>
        <p:txBody>
          <a:bodyPr/>
          <a:lstStyle/>
          <a:p>
            <a:r>
              <a:rPr lang="en-US"/>
              <a:t>© 2017 Capgemini. All rights reserved.</a:t>
            </a:r>
            <a:endParaRPr lang="en-US" dirty="0"/>
          </a:p>
        </p:txBody>
      </p:sp>
      <p:sp>
        <p:nvSpPr>
          <p:cNvPr id="25" name="Slide Number Placeholder 24"/>
          <p:cNvSpPr>
            <a:spLocks noGrp="1"/>
          </p:cNvSpPr>
          <p:nvPr>
            <p:ph type="sldNum" sz="quarter" idx="31"/>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2980958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7044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de-DE"/>
          </a:p>
        </p:txBody>
      </p:sp>
      <p:sp>
        <p:nvSpPr>
          <p:cNvPr id="10" name="Date Placeholder 9"/>
          <p:cNvSpPr>
            <a:spLocks noGrp="1"/>
          </p:cNvSpPr>
          <p:nvPr>
            <p:ph type="dt" sz="half" idx="10"/>
          </p:nvPr>
        </p:nvSpPr>
        <p:spPr/>
        <p:txBody>
          <a:bodyPr/>
          <a:lstStyle/>
          <a:p>
            <a:pPr>
              <a:lnSpc>
                <a:spcPct val="85000"/>
              </a:lnSpc>
            </a:pPr>
            <a:r>
              <a:rPr lang="en-US"/>
              <a:t>Presentation Title | Author | Date</a:t>
            </a:r>
            <a:endParaRPr lang="en-US" dirty="0"/>
          </a:p>
        </p:txBody>
      </p:sp>
      <p:sp>
        <p:nvSpPr>
          <p:cNvPr id="11" name="Footer Placeholder 10"/>
          <p:cNvSpPr>
            <a:spLocks noGrp="1"/>
          </p:cNvSpPr>
          <p:nvPr>
            <p:ph type="ftr" sz="quarter" idx="11"/>
          </p:nvPr>
        </p:nvSpPr>
        <p:spPr/>
        <p:txBody>
          <a:bodyPr/>
          <a:lstStyle/>
          <a:p>
            <a:r>
              <a:rPr lang="en-US"/>
              <a:t>© 2017 Capgemini. All rights reserved.</a:t>
            </a:r>
            <a:endParaRPr lang="en-US" dirty="0"/>
          </a:p>
        </p:txBody>
      </p:sp>
      <p:sp>
        <p:nvSpPr>
          <p:cNvPr id="12" name="Slide Number Placeholder 11"/>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0917566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a:t>
            </a:r>
            <a:br>
              <a:rPr lang="en-US" dirty="0"/>
            </a:br>
            <a:r>
              <a:rPr lang="en-US" dirty="0"/>
              <a:t>title style</a:t>
            </a:r>
            <a:endParaRPr lang="de-DE" dirty="0"/>
          </a:p>
        </p:txBody>
      </p:sp>
      <p:sp>
        <p:nvSpPr>
          <p:cNvPr id="8" name="Text Placeholder 7"/>
          <p:cNvSpPr>
            <a:spLocks noGrp="1"/>
          </p:cNvSpPr>
          <p:nvPr>
            <p:ph type="body" sz="quarter" idx="14"/>
          </p:nvPr>
        </p:nvSpPr>
        <p:spPr>
          <a:xfrm>
            <a:off x="407988" y="1412875"/>
            <a:ext cx="11376025" cy="215444"/>
          </a:xfrm>
        </p:spPr>
        <p:txBody>
          <a:bodyPr>
            <a:spAutoFit/>
          </a:bodyPr>
          <a:lstStyle>
            <a:lvl1pPr>
              <a:defRPr>
                <a:solidFill>
                  <a:schemeClr val="accent2"/>
                </a:solidFill>
              </a:defRPr>
            </a:lvl1pPr>
          </a:lstStyle>
          <a:p>
            <a:pPr lvl="0"/>
            <a:r>
              <a:rPr lang="en-US"/>
              <a:t>Edit Master text styles</a:t>
            </a:r>
          </a:p>
        </p:txBody>
      </p:sp>
      <p:sp>
        <p:nvSpPr>
          <p:cNvPr id="6" name="Date Placeholder 5"/>
          <p:cNvSpPr>
            <a:spLocks noGrp="1"/>
          </p:cNvSpPr>
          <p:nvPr>
            <p:ph type="dt" sz="half" idx="15"/>
          </p:nvPr>
        </p:nvSpPr>
        <p:spPr/>
        <p:txBody>
          <a:bodyPr/>
          <a:lstStyle/>
          <a:p>
            <a:pPr>
              <a:lnSpc>
                <a:spcPct val="85000"/>
              </a:lnSpc>
            </a:pPr>
            <a:r>
              <a:rPr lang="en-US"/>
              <a:t>Presentation Title | Author | Date</a:t>
            </a:r>
            <a:endParaRPr lang="en-US" dirty="0"/>
          </a:p>
        </p:txBody>
      </p:sp>
      <p:sp>
        <p:nvSpPr>
          <p:cNvPr id="7" name="Footer Placeholder 6"/>
          <p:cNvSpPr>
            <a:spLocks noGrp="1"/>
          </p:cNvSpPr>
          <p:nvPr>
            <p:ph type="ftr" sz="quarter" idx="16"/>
          </p:nvPr>
        </p:nvSpPr>
        <p:spPr/>
        <p:txBody>
          <a:bodyPr/>
          <a:lstStyle/>
          <a:p>
            <a:r>
              <a:rPr lang="en-US"/>
              <a:t>© 2017 Capgemini. All rights reserved.</a:t>
            </a:r>
            <a:endParaRPr lang="en-US" dirty="0"/>
          </a:p>
        </p:txBody>
      </p:sp>
      <p:sp>
        <p:nvSpPr>
          <p:cNvPr id="9" name="Slide Number Placeholder 8"/>
          <p:cNvSpPr>
            <a:spLocks noGrp="1"/>
          </p:cNvSpPr>
          <p:nvPr>
            <p:ph type="sldNum" sz="quarter" idx="17"/>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96847177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48"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userDrawn="1">
            <p:custDataLst>
              <p:tags r:id="rId45"/>
            </p:custDataLst>
            <p:extLst>
              <p:ext uri="{D42A27DB-BD31-4B8C-83A1-F6EECF244321}">
                <p14:modId xmlns:p14="http://schemas.microsoft.com/office/powerpoint/2010/main" val="80765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4"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8">
            <a:extLst>
              <a:ext uri="{96DAC541-7B7A-43D3-8B79-37D633B846F1}">
                <asvg:svgBlip xmlns:asvg="http://schemas.microsoft.com/office/drawing/2016/SVG/main" r:embed="rId49"/>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p:cNvSpPr>
            <a:spLocks noGrp="1"/>
          </p:cNvSpPr>
          <p:nvPr>
            <p:ph type="dt" sz="half" idx="2"/>
          </p:nvPr>
        </p:nvSpPr>
        <p:spPr>
          <a:xfrm>
            <a:off x="407988" y="6555971"/>
            <a:ext cx="2829007" cy="219456"/>
          </a:xfrm>
          <a:prstGeom prst="rect">
            <a:avLst/>
          </a:prstGeom>
        </p:spPr>
        <p:txBody>
          <a:bodyPr wrap="square" lIns="0" tIns="0" rIns="0" bIns="0" anchor="ctr" anchorCtr="0">
            <a:noAutofit/>
          </a:bodyPr>
          <a:lstStyle>
            <a:lvl1pPr>
              <a:defRPr lang="de-DE" sz="800" kern="0" smtClean="0">
                <a:solidFill>
                  <a:srgbClr val="00458D"/>
                </a:solidFill>
                <a:latin typeface="+mj-lt"/>
                <a:cs typeface="Arial" panose="020B0604020202020204" pitchFamily="34" charset="0"/>
              </a:defRPr>
            </a:lvl1pPr>
          </a:lstStyle>
          <a:p>
            <a:pPr>
              <a:lnSpc>
                <a:spcPct val="85000"/>
              </a:lnSpc>
            </a:pPr>
            <a:r>
              <a:rPr lang="en-US"/>
              <a:t>Presentation Title | Author | Date</a:t>
            </a:r>
            <a:endParaRPr lang="en-US" dirty="0"/>
          </a:p>
        </p:txBody>
      </p:sp>
      <p:sp>
        <p:nvSpPr>
          <p:cNvPr id="4" name="Footer Placeholder 3"/>
          <p:cNvSpPr>
            <a:spLocks noGrp="1"/>
          </p:cNvSpPr>
          <p:nvPr>
            <p:ph type="ftr" sz="quarter" idx="3"/>
          </p:nvPr>
        </p:nvSpPr>
        <p:spPr>
          <a:xfrm>
            <a:off x="9324107" y="6555758"/>
            <a:ext cx="2223686" cy="219456"/>
          </a:xfrm>
          <a:prstGeom prst="rect">
            <a:avLst/>
          </a:prstGeom>
        </p:spPr>
        <p:txBody>
          <a:bodyPr wrap="none" lIns="0" tIns="0" rIns="0" bIns="0" anchor="ctr">
            <a:noAutofit/>
          </a:bodyPr>
          <a:lstStyle>
            <a:lvl1pPr>
              <a:defRPr lang="de-DE" sz="800">
                <a:solidFill>
                  <a:schemeClr val="bg2">
                    <a:lumMod val="50000"/>
                  </a:schemeClr>
                </a:solidFill>
                <a:cs typeface="Arial" panose="020B0604020202020204" pitchFamily="34" charset="0"/>
              </a:defRPr>
            </a:lvl1pPr>
          </a:lstStyle>
          <a:p>
            <a:r>
              <a:rPr lang="en-US" dirty="0"/>
              <a:t>© 2017 Capgemini. All rights reserved.</a:t>
            </a:r>
          </a:p>
        </p:txBody>
      </p:sp>
      <p:sp>
        <p:nvSpPr>
          <p:cNvPr id="29" name="Slide Number Placeholder 28"/>
          <p:cNvSpPr>
            <a:spLocks noGrp="1"/>
          </p:cNvSpPr>
          <p:nvPr>
            <p:ph type="sldNum" sz="quarter" idx="4"/>
          </p:nvPr>
        </p:nvSpPr>
        <p:spPr>
          <a:xfrm>
            <a:off x="11784013" y="6555758"/>
            <a:ext cx="123754" cy="215444"/>
          </a:xfrm>
          <a:prstGeom prst="rect">
            <a:avLst/>
          </a:prstGeom>
        </p:spPr>
        <p:txBody>
          <a:bodyPr wrap="none">
            <a:noAutofit/>
          </a:bodyPr>
          <a:lstStyle>
            <a:lvl1pPr algn="ctr">
              <a:defRPr lang="de-DE" sz="800" smtClean="0">
                <a:solidFill>
                  <a:schemeClr val="bg2">
                    <a:lumMod val="50000"/>
                  </a:schemeClr>
                </a:solidFill>
                <a:cs typeface="Arial" panose="020B0604020202020204" pitchFamily="34" charset="0"/>
              </a:defRPr>
            </a:lvl1pPr>
          </a:lstStyle>
          <a:p>
            <a:fld id="{DD205EFF-948D-4AF6-B54C-65639188FB5F}" type="slidenum">
              <a:rPr lang="en-US" smtClean="0"/>
              <a:pPr/>
              <a:t>‹#›</a:t>
            </a:fld>
            <a:endParaRPr lang="en-US" dirty="0"/>
          </a:p>
        </p:txBody>
      </p:sp>
      <p:cxnSp>
        <p:nvCxnSpPr>
          <p:cNvPr id="3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58" r:id="rId1"/>
    <p:sldLayoutId id="2147483790" r:id="rId2"/>
    <p:sldLayoutId id="2147483721" r:id="rId3"/>
    <p:sldLayoutId id="2147483810" r:id="rId4"/>
    <p:sldLayoutId id="2147483720" r:id="rId5"/>
    <p:sldLayoutId id="2147483780" r:id="rId6"/>
    <p:sldLayoutId id="2147483817" r:id="rId7"/>
    <p:sldLayoutId id="2147483813" r:id="rId8"/>
    <p:sldLayoutId id="2147483816" r:id="rId9"/>
    <p:sldLayoutId id="2147483814" r:id="rId10"/>
    <p:sldLayoutId id="2147483815" r:id="rId11"/>
    <p:sldLayoutId id="2147483672" r:id="rId12"/>
    <p:sldLayoutId id="2147483734" r:id="rId13"/>
    <p:sldLayoutId id="2147483811" r:id="rId14"/>
    <p:sldLayoutId id="2147483786" r:id="rId15"/>
    <p:sldLayoutId id="2147483779" r:id="rId16"/>
    <p:sldLayoutId id="2147483722" r:id="rId17"/>
    <p:sldLayoutId id="2147483666" r:id="rId18"/>
    <p:sldLayoutId id="2147483799" r:id="rId19"/>
    <p:sldLayoutId id="2147483733" r:id="rId20"/>
    <p:sldLayoutId id="2147483791" r:id="rId21"/>
    <p:sldLayoutId id="2147483731" r:id="rId22"/>
    <p:sldLayoutId id="2147483795" r:id="rId23"/>
    <p:sldLayoutId id="2147483732" r:id="rId24"/>
    <p:sldLayoutId id="2147483778" r:id="rId25"/>
    <p:sldLayoutId id="2147483735" r:id="rId26"/>
    <p:sldLayoutId id="2147483739" r:id="rId27"/>
    <p:sldLayoutId id="2147483740" r:id="rId28"/>
    <p:sldLayoutId id="2147483794" r:id="rId29"/>
    <p:sldLayoutId id="2147483792" r:id="rId30"/>
    <p:sldLayoutId id="2147483796" r:id="rId31"/>
    <p:sldLayoutId id="2147483743" r:id="rId32"/>
    <p:sldLayoutId id="2147483812" r:id="rId33"/>
    <p:sldLayoutId id="2147483744" r:id="rId34"/>
    <p:sldLayoutId id="2147483746" r:id="rId35"/>
    <p:sldLayoutId id="2147483747" r:id="rId36"/>
    <p:sldLayoutId id="2147483798" r:id="rId37"/>
    <p:sldLayoutId id="2147483819" r:id="rId38"/>
    <p:sldLayoutId id="2147483820" r:id="rId39"/>
    <p:sldLayoutId id="2147483821" r:id="rId40"/>
    <p:sldLayoutId id="2147483822" r:id="rId41"/>
    <p:sldLayoutId id="2147483824" r:id="rId42"/>
  </p:sldLayoutIdLst>
  <p:hf hdr="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p:cNvSpPr>
            <a:spLocks noGrp="1"/>
          </p:cNvSpPr>
          <p:nvPr>
            <p:ph type="ctrTitle"/>
          </p:nvPr>
        </p:nvSpPr>
        <p:spPr/>
        <p:txBody>
          <a:bodyPr/>
          <a:lstStyle/>
          <a:p>
            <a:r>
              <a:rPr lang="en-GB" dirty="0"/>
              <a:t>Power BI Destillert</a:t>
            </a:r>
          </a:p>
        </p:txBody>
      </p:sp>
      <p:sp>
        <p:nvSpPr>
          <p:cNvPr id="14" name="Subtitle 4"/>
          <p:cNvSpPr>
            <a:spLocks noGrp="1"/>
          </p:cNvSpPr>
          <p:nvPr>
            <p:ph type="subTitle" idx="1"/>
          </p:nvPr>
        </p:nvSpPr>
        <p:spPr/>
        <p:txBody>
          <a:bodyPr/>
          <a:lstStyle/>
          <a:p>
            <a:pPr lvl="0"/>
            <a:endParaRPr lang="en-GB" dirty="0"/>
          </a:p>
          <a:p>
            <a:pPr lvl="0"/>
            <a:r>
              <a:rPr lang="en-GB" dirty="0"/>
              <a:t>Hans Kristiansen, BI Arkitekt</a:t>
            </a:r>
          </a:p>
          <a:p>
            <a:pPr lvl="0"/>
            <a:endParaRPr lang="en-GB" dirty="0"/>
          </a:p>
        </p:txBody>
      </p:sp>
    </p:spTree>
    <p:extLst>
      <p:ext uri="{BB962C8B-B14F-4D97-AF65-F5344CB8AC3E}">
        <p14:creationId xmlns:p14="http://schemas.microsoft.com/office/powerpoint/2010/main" val="2687361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2E511CDD-BB89-4484-8573-4248CC5EF5E8}"/>
              </a:ext>
            </a:extLst>
          </p:cNvPr>
          <p:cNvPicPr>
            <a:picLocks noGrp="1" noChangeAspect="1"/>
          </p:cNvPicPr>
          <p:nvPr>
            <p:ph idx="1"/>
          </p:nvPr>
        </p:nvPicPr>
        <p:blipFill>
          <a:blip r:embed="rId2"/>
          <a:stretch>
            <a:fillRect/>
          </a:stretch>
        </p:blipFill>
        <p:spPr>
          <a:xfrm>
            <a:off x="407988" y="1752600"/>
            <a:ext cx="11350625" cy="3597029"/>
          </a:xfrm>
          <a:prstGeom prst="rect">
            <a:avLst/>
          </a:prstGeom>
        </p:spPr>
      </p:pic>
      <p:sp>
        <p:nvSpPr>
          <p:cNvPr id="4" name="Title 3">
            <a:extLst>
              <a:ext uri="{FF2B5EF4-FFF2-40B4-BE49-F238E27FC236}">
                <a16:creationId xmlns:a16="http://schemas.microsoft.com/office/drawing/2014/main" id="{80164520-F2E9-4A7A-8EDE-BBE24FDA4650}"/>
              </a:ext>
            </a:extLst>
          </p:cNvPr>
          <p:cNvSpPr>
            <a:spLocks noGrp="1"/>
          </p:cNvSpPr>
          <p:nvPr>
            <p:ph type="title"/>
          </p:nvPr>
        </p:nvSpPr>
        <p:spPr/>
        <p:txBody>
          <a:bodyPr/>
          <a:lstStyle/>
          <a:p>
            <a:r>
              <a:rPr lang="nb-NO" dirty="0"/>
              <a:t>Hva er Power BI?</a:t>
            </a:r>
            <a:endParaRPr lang="en-US" dirty="0"/>
          </a:p>
        </p:txBody>
      </p:sp>
    </p:spTree>
    <p:extLst>
      <p:ext uri="{BB962C8B-B14F-4D97-AF65-F5344CB8AC3E}">
        <p14:creationId xmlns:p14="http://schemas.microsoft.com/office/powerpoint/2010/main" val="19094413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B218828-1D43-4877-A3A5-241921FC6D90}"/>
              </a:ext>
            </a:extLst>
          </p:cNvPr>
          <p:cNvSpPr>
            <a:spLocks noGrp="1"/>
          </p:cNvSpPr>
          <p:nvPr>
            <p:ph type="title"/>
          </p:nvPr>
        </p:nvSpPr>
        <p:spPr/>
        <p:txBody>
          <a:bodyPr/>
          <a:lstStyle/>
          <a:p>
            <a:r>
              <a:rPr lang="nb-NO" dirty="0"/>
              <a:t>Hvordan ser BI Markedet ut?</a:t>
            </a:r>
            <a:endParaRPr lang="en-US" dirty="0"/>
          </a:p>
        </p:txBody>
      </p:sp>
      <p:pic>
        <p:nvPicPr>
          <p:cNvPr id="22" name="Content Placeholder 6">
            <a:extLst>
              <a:ext uri="{FF2B5EF4-FFF2-40B4-BE49-F238E27FC236}">
                <a16:creationId xmlns:a16="http://schemas.microsoft.com/office/drawing/2014/main" id="{6E9E2748-42CE-4B1D-B3B5-92FBFB7EA0D0}"/>
              </a:ext>
            </a:extLst>
          </p:cNvPr>
          <p:cNvPicPr>
            <a:picLocks noChangeAspect="1"/>
          </p:cNvPicPr>
          <p:nvPr/>
        </p:nvPicPr>
        <p:blipFill>
          <a:blip r:embed="rId2"/>
          <a:stretch>
            <a:fillRect/>
          </a:stretch>
        </p:blipFill>
        <p:spPr>
          <a:xfrm>
            <a:off x="407988" y="1028700"/>
            <a:ext cx="5383211" cy="5410200"/>
          </a:xfrm>
          <a:prstGeom prst="rect">
            <a:avLst/>
          </a:prstGeom>
        </p:spPr>
      </p:pic>
      <p:pic>
        <p:nvPicPr>
          <p:cNvPr id="24" name="Picture 23">
            <a:extLst>
              <a:ext uri="{FF2B5EF4-FFF2-40B4-BE49-F238E27FC236}">
                <a16:creationId xmlns:a16="http://schemas.microsoft.com/office/drawing/2014/main" id="{3C0B5B3F-E09D-4D45-B356-1C5E977399FF}"/>
              </a:ext>
            </a:extLst>
          </p:cNvPr>
          <p:cNvPicPr>
            <a:picLocks noChangeAspect="1"/>
          </p:cNvPicPr>
          <p:nvPr/>
        </p:nvPicPr>
        <p:blipFill>
          <a:blip r:embed="rId3"/>
          <a:stretch>
            <a:fillRect/>
          </a:stretch>
        </p:blipFill>
        <p:spPr>
          <a:xfrm>
            <a:off x="6248400" y="836613"/>
            <a:ext cx="5695950" cy="5905500"/>
          </a:xfrm>
          <a:prstGeom prst="rect">
            <a:avLst/>
          </a:prstGeom>
        </p:spPr>
      </p:pic>
    </p:spTree>
    <p:extLst>
      <p:ext uri="{BB962C8B-B14F-4D97-AF65-F5344CB8AC3E}">
        <p14:creationId xmlns:p14="http://schemas.microsoft.com/office/powerpoint/2010/main" val="21952885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p:cNvPicPr>
            <a:picLocks noGrp="1" noChangeAspect="1"/>
          </p:cNvPicPr>
          <p:nvPr>
            <p:ph idx="1"/>
          </p:nvPr>
        </p:nvPicPr>
        <p:blipFill>
          <a:blip r:embed="rId2"/>
          <a:stretch>
            <a:fillRect/>
          </a:stretch>
        </p:blipFill>
        <p:spPr>
          <a:xfrm>
            <a:off x="1625601" y="1498600"/>
            <a:ext cx="8344313" cy="4438651"/>
          </a:xfrm>
          <a:prstGeom prst="rect">
            <a:avLst/>
          </a:prstGeom>
        </p:spPr>
      </p:pic>
      <p:sp>
        <p:nvSpPr>
          <p:cNvPr id="7" name="Title 6"/>
          <p:cNvSpPr>
            <a:spLocks noGrp="1"/>
          </p:cNvSpPr>
          <p:nvPr>
            <p:ph type="title"/>
          </p:nvPr>
        </p:nvSpPr>
        <p:spPr/>
        <p:txBody>
          <a:bodyPr/>
          <a:lstStyle/>
          <a:p>
            <a:r>
              <a:rPr lang="nb-NO" dirty="0"/>
              <a:t>Hva inneholder Power BI?</a:t>
            </a:r>
            <a:endParaRPr lang="en-US" dirty="0"/>
          </a:p>
        </p:txBody>
      </p:sp>
    </p:spTree>
    <p:extLst>
      <p:ext uri="{BB962C8B-B14F-4D97-AF65-F5344CB8AC3E}">
        <p14:creationId xmlns:p14="http://schemas.microsoft.com/office/powerpoint/2010/main" val="26934689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nb-NO" dirty="0"/>
              <a:t>Hvordan komme igang med Power BI?</a:t>
            </a:r>
            <a:br>
              <a:rPr lang="nb-NO" dirty="0"/>
            </a:br>
            <a:endParaRPr lang="en-US" dirty="0"/>
          </a:p>
        </p:txBody>
      </p:sp>
      <p:pic>
        <p:nvPicPr>
          <p:cNvPr id="8" name="Content Placeholder 7"/>
          <p:cNvPicPr>
            <a:picLocks noGrp="1" noChangeAspect="1"/>
          </p:cNvPicPr>
          <p:nvPr>
            <p:ph idx="1"/>
          </p:nvPr>
        </p:nvPicPr>
        <p:blipFill>
          <a:blip r:embed="rId2"/>
          <a:stretch>
            <a:fillRect/>
          </a:stretch>
        </p:blipFill>
        <p:spPr>
          <a:xfrm>
            <a:off x="304800" y="1600201"/>
            <a:ext cx="11353800" cy="4398489"/>
          </a:xfrm>
          <a:prstGeom prst="rect">
            <a:avLst/>
          </a:prstGeom>
        </p:spPr>
      </p:pic>
      <p:sp>
        <p:nvSpPr>
          <p:cNvPr id="2" name="TextBox 1">
            <a:extLst>
              <a:ext uri="{FF2B5EF4-FFF2-40B4-BE49-F238E27FC236}">
                <a16:creationId xmlns:a16="http://schemas.microsoft.com/office/drawing/2014/main" id="{EA0513FE-343C-4F6E-9884-C8BD97A80785}"/>
              </a:ext>
            </a:extLst>
          </p:cNvPr>
          <p:cNvSpPr txBox="1"/>
          <p:nvPr/>
        </p:nvSpPr>
        <p:spPr>
          <a:xfrm>
            <a:off x="685800" y="1828800"/>
            <a:ext cx="2313326" cy="492443"/>
          </a:xfrm>
          <a:prstGeom prst="rect">
            <a:avLst/>
          </a:prstGeom>
          <a:noFill/>
        </p:spPr>
        <p:txBody>
          <a:bodyPr wrap="none" rtlCol="0">
            <a:spAutoFit/>
          </a:bodyPr>
          <a:lstStyle/>
          <a:p>
            <a:r>
              <a:rPr lang="nb-NO" sz="2600" dirty="0">
                <a:solidFill>
                  <a:schemeClr val="tx2"/>
                </a:solidFill>
                <a:latin typeface="Verdana" panose="020B0604030504040204" pitchFamily="34" charset="0"/>
                <a:ea typeface="Verdana" panose="020B0604030504040204" pitchFamily="34" charset="0"/>
              </a:rPr>
              <a:t>Powerbi.com</a:t>
            </a:r>
            <a:endParaRPr lang="en-US" sz="2600" dirty="0">
              <a:solidFill>
                <a:schemeClr val="tx2"/>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34234461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stretch>
            <a:fillRect/>
          </a:stretch>
        </p:blipFill>
        <p:spPr>
          <a:xfrm>
            <a:off x="1524000" y="1397000"/>
            <a:ext cx="8276992" cy="4438651"/>
          </a:xfrm>
          <a:prstGeom prst="rect">
            <a:avLst/>
          </a:prstGeom>
          <a:ln>
            <a:noFill/>
          </a:ln>
          <a:effectLst>
            <a:outerShdw blurRad="292100" dist="139700" dir="2700000" algn="tl" rotWithShape="0">
              <a:srgbClr val="333333">
                <a:alpha val="65000"/>
              </a:srgbClr>
            </a:outerShdw>
          </a:effectLst>
        </p:spPr>
      </p:pic>
      <p:sp>
        <p:nvSpPr>
          <p:cNvPr id="4" name="Title 3"/>
          <p:cNvSpPr>
            <a:spLocks noGrp="1"/>
          </p:cNvSpPr>
          <p:nvPr>
            <p:ph type="title"/>
          </p:nvPr>
        </p:nvSpPr>
        <p:spPr/>
        <p:txBody>
          <a:bodyPr/>
          <a:lstStyle/>
          <a:p>
            <a:r>
              <a:rPr lang="nb-NO" dirty="0"/>
              <a:t>Power BI Demo</a:t>
            </a:r>
            <a:endParaRPr lang="en-US" dirty="0"/>
          </a:p>
        </p:txBody>
      </p:sp>
    </p:spTree>
    <p:extLst>
      <p:ext uri="{BB962C8B-B14F-4D97-AF65-F5344CB8AC3E}">
        <p14:creationId xmlns:p14="http://schemas.microsoft.com/office/powerpoint/2010/main" val="1367611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8E7A99D-D94F-4772-A4D4-628145FC7E38}"/>
              </a:ext>
            </a:extLst>
          </p:cNvPr>
          <p:cNvSpPr>
            <a:spLocks noGrp="1"/>
          </p:cNvSpPr>
          <p:nvPr>
            <p:ph type="title"/>
          </p:nvPr>
        </p:nvSpPr>
        <p:spPr/>
        <p:txBody>
          <a:bodyPr/>
          <a:lstStyle/>
          <a:p>
            <a:r>
              <a:rPr lang="nb-NO" dirty="0"/>
              <a:t>Power BI Nyheter</a:t>
            </a:r>
            <a:endParaRPr lang="en-US" dirty="0"/>
          </a:p>
        </p:txBody>
      </p:sp>
      <p:pic>
        <p:nvPicPr>
          <p:cNvPr id="5" name="Content Placeholder 4">
            <a:extLst>
              <a:ext uri="{FF2B5EF4-FFF2-40B4-BE49-F238E27FC236}">
                <a16:creationId xmlns:a16="http://schemas.microsoft.com/office/drawing/2014/main" id="{2CB66070-54EB-4587-ABF3-442203C3A49F}"/>
              </a:ext>
            </a:extLst>
          </p:cNvPr>
          <p:cNvPicPr>
            <a:picLocks noGrp="1" noChangeAspect="1"/>
          </p:cNvPicPr>
          <p:nvPr>
            <p:ph idx="4294967295"/>
          </p:nvPr>
        </p:nvPicPr>
        <p:blipFill>
          <a:blip r:embed="rId2"/>
          <a:stretch>
            <a:fillRect/>
          </a:stretch>
        </p:blipFill>
        <p:spPr>
          <a:xfrm>
            <a:off x="484187" y="1676400"/>
            <a:ext cx="11223625" cy="4438650"/>
          </a:xfrm>
          <a:prstGeom prst="rect">
            <a:avLst/>
          </a:prstGeom>
        </p:spPr>
      </p:pic>
    </p:spTree>
    <p:extLst>
      <p:ext uri="{BB962C8B-B14F-4D97-AF65-F5344CB8AC3E}">
        <p14:creationId xmlns:p14="http://schemas.microsoft.com/office/powerpoint/2010/main" val="24129807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b-NO" dirty="0"/>
              <a:t>Power BI User Group Norway</a:t>
            </a:r>
            <a:endParaRPr lang="en-US" dirty="0"/>
          </a:p>
        </p:txBody>
      </p:sp>
      <p:pic>
        <p:nvPicPr>
          <p:cNvPr id="4" name="Content Placeholder 3">
            <a:extLst>
              <a:ext uri="{FF2B5EF4-FFF2-40B4-BE49-F238E27FC236}">
                <a16:creationId xmlns:a16="http://schemas.microsoft.com/office/drawing/2014/main" id="{6DE3D86B-026F-4591-AA7D-E8755AE67A3C}"/>
              </a:ext>
            </a:extLst>
          </p:cNvPr>
          <p:cNvPicPr>
            <a:picLocks noGrp="1" noChangeAspect="1"/>
          </p:cNvPicPr>
          <p:nvPr>
            <p:ph idx="1"/>
          </p:nvPr>
        </p:nvPicPr>
        <p:blipFill>
          <a:blip r:embed="rId2"/>
          <a:stretch>
            <a:fillRect/>
          </a:stretch>
        </p:blipFill>
        <p:spPr>
          <a:xfrm>
            <a:off x="420687" y="1371600"/>
            <a:ext cx="11350625" cy="3973619"/>
          </a:xfrm>
          <a:prstGeom prst="rect">
            <a:avLst/>
          </a:prstGeom>
        </p:spPr>
      </p:pic>
    </p:spTree>
    <p:extLst>
      <p:ext uri="{BB962C8B-B14F-4D97-AF65-F5344CB8AC3E}">
        <p14:creationId xmlns:p14="http://schemas.microsoft.com/office/powerpoint/2010/main" val="20178315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54078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CiS0.yx0EOD8F1j3NQr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z079BM2o06hslZIU5JQ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Global 2017">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400" dirty="0" smtClean="0"/>
        </a:defPPr>
      </a:lstStyle>
    </a:txDef>
  </a:objectDefaults>
  <a:extraClrSchemeLst/>
  <a:extLst>
    <a:ext uri="{05A4C25C-085E-4340-85A3-A5531E510DB2}">
      <thm15:themeFamily xmlns:thm15="http://schemas.microsoft.com/office/thememl/2012/main" name="Template Capgemini Global 2017_light.potx" id="{949D4644-8D05-490A-804F-0516A770062C}" vid="{F554AABE-1105-435D-A41B-59D2E86B8648}"/>
    </a:ext>
  </a:extLst>
</a:theme>
</file>

<file path=ppt/theme/theme2.xml><?xml version="1.0" encoding="utf-8"?>
<a:theme xmlns:a="http://schemas.openxmlformats.org/drawingml/2006/main" name="Tema do Offic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Global 2017">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mplate_Capgemini_Global_2017_light_version (1)</Template>
  <TotalTime>280</TotalTime>
  <Words>45</Words>
  <Application>Microsoft Office PowerPoint</Application>
  <PresentationFormat>Widescreen</PresentationFormat>
  <Paragraphs>11</Paragraphs>
  <Slides>9</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5" baseType="lpstr">
      <vt:lpstr>Arial</vt:lpstr>
      <vt:lpstr>Calibri</vt:lpstr>
      <vt:lpstr>Verdana</vt:lpstr>
      <vt:lpstr>Wingdings</vt:lpstr>
      <vt:lpstr>Capgemini Global 2017</vt:lpstr>
      <vt:lpstr>think-cell Slide</vt:lpstr>
      <vt:lpstr>Power BI Destillert</vt:lpstr>
      <vt:lpstr>Hva er Power BI?</vt:lpstr>
      <vt:lpstr>Hvordan ser BI Markedet ut?</vt:lpstr>
      <vt:lpstr>Hva inneholder Power BI?</vt:lpstr>
      <vt:lpstr>Hvordan komme igang med Power BI? </vt:lpstr>
      <vt:lpstr>Power BI Demo</vt:lpstr>
      <vt:lpstr>Power BI Nyheter</vt:lpstr>
      <vt:lpstr>Power BI User Group Norway</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hans.kristiansen@capgemini.com</dc:creator>
  <cp:lastModifiedBy>Hans Kristiansen</cp:lastModifiedBy>
  <cp:revision>23</cp:revision>
  <dcterms:created xsi:type="dcterms:W3CDTF">2018-09-20T20:17:00Z</dcterms:created>
  <dcterms:modified xsi:type="dcterms:W3CDTF">2018-11-07T13:49:38Z</dcterms:modified>
</cp:coreProperties>
</file>